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5.xml" ContentType="application/vnd.openxmlformats-officedocument.theme+xml"/>
  <Override PartName="/ppt/tags/tag6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6.xml" ContentType="application/vnd.openxmlformats-officedocument.theme+xml"/>
  <Override PartName="/ppt/tags/tag7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7.xml" ContentType="application/vnd.openxmlformats-officedocument.theme+xml"/>
  <Override PartName="/ppt/tags/tag8.xml" ContentType="application/vnd.openxmlformats-officedocument.presentationml.tags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8.xml" ContentType="application/vnd.openxmlformats-officedocument.theme+xml"/>
  <Override PartName="/ppt/tags/tag9.xml" ContentType="application/vnd.openxmlformats-officedocument.presentationml.tags+xml"/>
  <Override PartName="/ppt/slideLayouts/slideLayout39.xml" ContentType="application/vnd.openxmlformats-officedocument.presentationml.slideLayout+xml"/>
  <Override PartName="/ppt/theme/theme9.xml" ContentType="application/vnd.openxmlformats-officedocument.theme+xml"/>
  <Override PartName="/ppt/tags/tag10.xml" ContentType="application/vnd.openxmlformats-officedocument.presentationml.tags+xml"/>
  <Override PartName="/ppt/slideLayouts/slideLayout40.xml" ContentType="application/vnd.openxmlformats-officedocument.presentationml.slideLayout+xml"/>
  <Override PartName="/ppt/theme/theme10.xml" ContentType="application/vnd.openxmlformats-officedocument.theme+xml"/>
  <Override PartName="/ppt/tags/tag11.xml" ContentType="application/vnd.openxmlformats-officedocument.presentationml.tags+xml"/>
  <Override PartName="/ppt/slideLayouts/slideLayout41.xml" ContentType="application/vnd.openxmlformats-officedocument.presentationml.slideLayout+xml"/>
  <Override PartName="/ppt/theme/theme11.xml" ContentType="application/vnd.openxmlformats-officedocument.theme+xml"/>
  <Override PartName="/ppt/tags/tag12.xml" ContentType="application/vnd.openxmlformats-officedocument.presentationml.tags+xml"/>
  <Override PartName="/ppt/theme/theme12.xml" ContentType="application/vnd.openxmlformats-officedocument.theme+xml"/>
  <Override PartName="/ppt/theme/theme13.xml" ContentType="application/vnd.openxmlformats-officedocument.theme+xml"/>
  <Override PartName="/ppt/tags/tag1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1" r:id="rId4"/>
    <p:sldMasterId id="2147483665" r:id="rId5"/>
    <p:sldMasterId id="2147483668" r:id="rId6"/>
    <p:sldMasterId id="2147483671" r:id="rId7"/>
    <p:sldMasterId id="2147483685" r:id="rId8"/>
    <p:sldMasterId id="2147483692" r:id="rId9"/>
    <p:sldMasterId id="2147483674" r:id="rId10"/>
    <p:sldMasterId id="2147483680" r:id="rId11"/>
    <p:sldMasterId id="2147483702" r:id="rId12"/>
    <p:sldMasterId id="2147483714" r:id="rId13"/>
    <p:sldMasterId id="2147483716" r:id="rId14"/>
  </p:sldMasterIdLst>
  <p:notesMasterIdLst>
    <p:notesMasterId r:id="rId27"/>
  </p:notesMasterIdLst>
  <p:handoutMasterIdLst>
    <p:handoutMasterId r:id="rId28"/>
  </p:handoutMasterIdLst>
  <p:sldIdLst>
    <p:sldId id="256" r:id="rId15"/>
    <p:sldId id="261" r:id="rId16"/>
    <p:sldId id="257" r:id="rId17"/>
    <p:sldId id="259" r:id="rId18"/>
    <p:sldId id="260" r:id="rId19"/>
    <p:sldId id="272" r:id="rId20"/>
    <p:sldId id="275" r:id="rId21"/>
    <p:sldId id="265" r:id="rId22"/>
    <p:sldId id="276" r:id="rId23"/>
    <p:sldId id="267" r:id="rId24"/>
    <p:sldId id="268" r:id="rId25"/>
    <p:sldId id="271" r:id="rId26"/>
  </p:sldIdLst>
  <p:sldSz cx="12192000" cy="6858000"/>
  <p:notesSz cx="6858000" cy="9144000"/>
  <p:custDataLst>
    <p:tags r:id="rId29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rgreiter Carina" initials="MC" lastIdx="1" clrIdx="0">
    <p:extLst>
      <p:ext uri="{19B8F6BF-5375-455C-9EA6-DF929625EA0E}">
        <p15:presenceInfo xmlns:p15="http://schemas.microsoft.com/office/powerpoint/2012/main" userId="S::c.margreiter@aws.at::737ef429-ba38-49ba-951b-6659040e296e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22666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75DCB02-9BB8-47FD-8907-85C794F793BA}" styleName="Designformatvorlage 1 - Akzent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D7AC3CCA-C797-4891-BE02-D94E43425B78}" styleName="Mittlere Formatvorlage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025" autoAdjust="0"/>
    <p:restoredTop sz="96357" autoAdjust="0"/>
  </p:normalViewPr>
  <p:slideViewPr>
    <p:cSldViewPr snapToGrid="0" showGuides="1">
      <p:cViewPr varScale="1">
        <p:scale>
          <a:sx n="78" d="100"/>
          <a:sy n="78" d="100"/>
        </p:scale>
        <p:origin x="667" y="72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-2430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84" d="100"/>
          <a:sy n="84" d="100"/>
        </p:scale>
        <p:origin x="3828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4.xml"/><Relationship Id="rId26" Type="http://schemas.openxmlformats.org/officeDocument/2006/relationships/slide" Target="slides/slide12.xml"/><Relationship Id="rId3" Type="http://schemas.openxmlformats.org/officeDocument/2006/relationships/customXml" Target="../customXml/item3.xml"/><Relationship Id="rId21" Type="http://schemas.openxmlformats.org/officeDocument/2006/relationships/slide" Target="slides/slide7.xml"/><Relationship Id="rId34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3.xml"/><Relationship Id="rId25" Type="http://schemas.openxmlformats.org/officeDocument/2006/relationships/slide" Target="slides/slide11.xml"/><Relationship Id="rId33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2.xml"/><Relationship Id="rId20" Type="http://schemas.openxmlformats.org/officeDocument/2006/relationships/slide" Target="slides/slide6.xml"/><Relationship Id="rId29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0.xml"/><Relationship Id="rId32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.xml"/><Relationship Id="rId23" Type="http://schemas.openxmlformats.org/officeDocument/2006/relationships/slide" Target="slides/slide9.xml"/><Relationship Id="rId28" Type="http://schemas.openxmlformats.org/officeDocument/2006/relationships/handoutMaster" Target="handoutMasters/handoutMaster1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5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" Target="slides/slide8.xml"/><Relationship Id="rId27" Type="http://schemas.openxmlformats.org/officeDocument/2006/relationships/notesMaster" Target="notesMasters/notesMaster1.xml"/><Relationship Id="rId30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AT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BDDFC05-249E-4F32-AE9C-1410BA4D281A}" type="datetimeFigureOut">
              <a:rPr lang="de-AT" smtClean="0"/>
              <a:t>30.11.2022</a:t>
            </a:fld>
            <a:endParaRPr lang="de-AT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AT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4DD1CCA-3FA4-4D57-83D0-69148280D885}" type="slidenum">
              <a:rPr lang="de-AT" smtClean="0"/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226611856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AT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7CD7147-F1A5-47BC-BB01-29899F833CDE}" type="datetimeFigureOut">
              <a:rPr lang="de-AT" smtClean="0"/>
              <a:t>30.11.2022</a:t>
            </a:fld>
            <a:endParaRPr lang="de-AT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AT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AT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AT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B35D6F8-89AC-47C9-880E-CE1A89FAD271}" type="slidenum">
              <a:rPr lang="de-AT" smtClean="0"/>
              <a:t>‹Nr.›</a:t>
            </a:fld>
            <a:endParaRPr lang="de-AT"/>
          </a:p>
        </p:txBody>
      </p:sp>
    </p:spTree>
    <p:extLst>
      <p:ext uri="{BB962C8B-B14F-4D97-AF65-F5344CB8AC3E}">
        <p14:creationId xmlns:p14="http://schemas.microsoft.com/office/powerpoint/2010/main" val="223781721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8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9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/>
          <p:cNvSpPr/>
          <p:nvPr userDrawn="1"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rgbClr val="02266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1" dirty="0"/>
          </a:p>
        </p:txBody>
      </p:sp>
      <p:sp>
        <p:nvSpPr>
          <p:cNvPr id="4" name="Textplatzhalter 35"/>
          <p:cNvSpPr txBox="1">
            <a:spLocks/>
          </p:cNvSpPr>
          <p:nvPr userDrawn="1"/>
        </p:nvSpPr>
        <p:spPr>
          <a:xfrm>
            <a:off x="817053" y="6491302"/>
            <a:ext cx="9680785" cy="224771"/>
          </a:xfrm>
          <a:prstGeom prst="rect">
            <a:avLst/>
          </a:prstGeom>
          <a:ln>
            <a:noFill/>
          </a:ln>
        </p:spPr>
        <p:txBody>
          <a:bodyPr vert="horz" lIns="0" tIns="0" rIns="0" bIns="0" anchor="t" anchorCtr="0"/>
          <a:lstStyle>
            <a:lvl1pPr marL="0" indent="0" algn="r" defTabSz="457200" rtl="0" eaLnBrk="1" latinLnBrk="0" hangingPunct="1">
              <a:spcBef>
                <a:spcPct val="20000"/>
              </a:spcBef>
              <a:buFont typeface="Arial"/>
              <a:buNone/>
              <a:defRPr sz="1000" kern="1200" baseline="0">
                <a:solidFill>
                  <a:srgbClr val="04174C"/>
                </a:solidFill>
                <a:latin typeface="Arial"/>
                <a:ea typeface="+mn-ea"/>
                <a:cs typeface="Arial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l" defTabSz="45715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de-AT" sz="900" dirty="0">
                <a:ln>
                  <a:noFill/>
                </a:ln>
                <a:solidFill>
                  <a:schemeClr val="bg1"/>
                </a:solidFill>
              </a:rPr>
              <a:t>Youth Entrepreneurship Week | 10.12.2021</a:t>
            </a:r>
            <a:endParaRPr lang="de-DE" sz="900" dirty="0">
              <a:ln>
                <a:noFill/>
              </a:ln>
              <a:solidFill>
                <a:schemeClr val="bg1"/>
              </a:solidFill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17052" y="3433782"/>
            <a:ext cx="10541001" cy="2009775"/>
          </a:xfrm>
          <a:prstGeom prst="rect">
            <a:avLst/>
          </a:prstGeom>
        </p:spPr>
        <p:txBody>
          <a:bodyPr vert="horz" lIns="0" tIns="0" rIns="0" bIns="0" anchor="b" anchorCtr="0"/>
          <a:lstStyle>
            <a:lvl1pPr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AT" dirty="0"/>
              <a:t>Arial Fett 44 </a:t>
            </a:r>
            <a:r>
              <a:rPr lang="de-AT" dirty="0" err="1"/>
              <a:t>weiss</a:t>
            </a:r>
            <a:endParaRPr lang="de-AT" dirty="0"/>
          </a:p>
          <a:p>
            <a:pPr lvl="0"/>
            <a:r>
              <a:rPr lang="de-AT" dirty="0"/>
              <a:t>Arial 44 hellblau</a:t>
            </a:r>
          </a:p>
        </p:txBody>
      </p:sp>
      <p:sp>
        <p:nvSpPr>
          <p:cNvPr id="16" name="Oval 6"/>
          <p:cNvSpPr>
            <a:spLocks/>
          </p:cNvSpPr>
          <p:nvPr userDrawn="1"/>
        </p:nvSpPr>
        <p:spPr>
          <a:xfrm>
            <a:off x="9198181" y="368301"/>
            <a:ext cx="3240000" cy="3240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1"/>
          </a:p>
        </p:txBody>
      </p:sp>
      <p:pic>
        <p:nvPicPr>
          <p:cNvPr id="17" name="Bild 7" descr="aws_b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19531" y="1670072"/>
            <a:ext cx="2160000" cy="634349"/>
          </a:xfrm>
          <a:prstGeom prst="rect">
            <a:avLst/>
          </a:prstGeom>
        </p:spPr>
      </p:pic>
      <p:sp>
        <p:nvSpPr>
          <p:cNvPr id="2" name="Textfeld 1">
            <a:extLst>
              <a:ext uri="{FF2B5EF4-FFF2-40B4-BE49-F238E27FC236}">
                <a16:creationId xmlns:a16="http://schemas.microsoft.com/office/drawing/2014/main" id="{6BA02436-3428-4632-A9BA-320C7FCAD718}"/>
              </a:ext>
            </a:extLst>
          </p:cNvPr>
          <p:cNvSpPr txBox="1"/>
          <p:nvPr userDrawn="1"/>
        </p:nvSpPr>
        <p:spPr>
          <a:xfrm>
            <a:off x="691978" y="6359611"/>
            <a:ext cx="2504303" cy="369332"/>
          </a:xfrm>
          <a:prstGeom prst="rect">
            <a:avLst/>
          </a:prstGeom>
          <a:solidFill>
            <a:srgbClr val="022666"/>
          </a:solidFill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147213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2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uiExpand="1" build="p">
        <p:tmplLst>
          <p:tmpl lvl="1">
            <p:tnLst>
              <p:par>
                <p:cTn presetID="2" presetClass="entr" presetSubtype="8" fill="hold" nodeType="withEffect">
                  <p:stCondLst>
                    <p:cond delay="15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5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5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  <p:bldP spid="16" grpId="0" animBg="1"/>
    </p:bldLst>
  </p:timing>
  <p:extLst>
    <p:ext uri="{DCECCB84-F9BA-43D5-87BE-67443E8EF086}">
      <p15:sldGuideLst xmlns:p15="http://schemas.microsoft.com/office/powerpoint/2012/main">
        <p15:guide id="1" orient="horz" pos="1453" userDrawn="1">
          <p15:clr>
            <a:srgbClr val="FBAE40"/>
          </p15:clr>
        </p15:guide>
        <p15:guide id="2" pos="506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verzeichn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6"/>
          <p:cNvSpPr>
            <a:spLocks noGrp="1"/>
          </p:cNvSpPr>
          <p:nvPr>
            <p:ph type="body" sz="quarter" idx="10" hasCustomPrompt="1"/>
          </p:nvPr>
        </p:nvSpPr>
        <p:spPr>
          <a:xfrm>
            <a:off x="817032" y="1444628"/>
            <a:ext cx="10562168" cy="4230461"/>
          </a:xfrm>
          <a:prstGeom prst="rect">
            <a:avLst/>
          </a:prstGeom>
        </p:spPr>
        <p:txBody>
          <a:bodyPr vert="horz" lIns="0" tIns="0" rIns="0" bIns="0" anchor="b"/>
          <a:lstStyle>
            <a:lvl1pPr marL="457154" marR="0" indent="-457154" algn="l" defTabSz="457154" rtl="0" eaLnBrk="1" fontAlgn="auto" latinLnBrk="0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Clr>
                <a:srgbClr val="00AEEF"/>
              </a:buClr>
              <a:buSzPct val="100000"/>
              <a:buFont typeface="Wingdings" charset="2"/>
              <a:buAutoNum type="arabicPlain"/>
              <a:tabLst/>
              <a:defRPr sz="2400" b="0">
                <a:solidFill>
                  <a:srgbClr val="00377A"/>
                </a:solidFill>
                <a:latin typeface="Arial"/>
                <a:cs typeface="Arial"/>
              </a:defRPr>
            </a:lvl1pPr>
            <a:lvl2pPr marL="800020" indent="-342866">
              <a:buFont typeface="Symbol" panose="05050102010706020507" pitchFamily="18" charset="2"/>
              <a:buChar char="-"/>
              <a:defRPr sz="24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10" indent="0">
              <a:buFont typeface="Symbol" panose="05050102010706020507" pitchFamily="18" charset="2"/>
              <a:buNone/>
              <a:defRPr sz="1801">
                <a:solidFill>
                  <a:srgbClr val="0099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</a:lstStyle>
          <a:p>
            <a:pPr lvl="0"/>
            <a:r>
              <a:rPr lang="de-AT" dirty="0"/>
              <a:t>Kapitel Nummer Arial </a:t>
            </a:r>
            <a:r>
              <a:rPr lang="de-AT" dirty="0" err="1"/>
              <a:t>Bold</a:t>
            </a:r>
            <a:r>
              <a:rPr lang="de-AT" dirty="0"/>
              <a:t> 24 </a:t>
            </a:r>
            <a:r>
              <a:rPr lang="de-AT" dirty="0" err="1"/>
              <a:t>pt</a:t>
            </a:r>
            <a:r>
              <a:rPr lang="de-AT" dirty="0"/>
              <a:t> dunkelblau</a:t>
            </a:r>
          </a:p>
          <a:p>
            <a:pPr lvl="1"/>
            <a:r>
              <a:rPr lang="de-AT" dirty="0" err="1"/>
              <a:t>asdf</a:t>
            </a:r>
            <a:endParaRPr lang="de-AT" dirty="0"/>
          </a:p>
          <a:p>
            <a:pPr lvl="0"/>
            <a:r>
              <a:rPr lang="de-AT" dirty="0"/>
              <a:t>Kapitel Nummer zwei</a:t>
            </a:r>
          </a:p>
          <a:p>
            <a:pPr lvl="0"/>
            <a:r>
              <a:rPr lang="de-AT" dirty="0"/>
              <a:t>Kapitel Nummer drei</a:t>
            </a:r>
          </a:p>
        </p:txBody>
      </p:sp>
    </p:spTree>
    <p:extLst>
      <p:ext uri="{BB962C8B-B14F-4D97-AF65-F5344CB8AC3E}">
        <p14:creationId xmlns:p14="http://schemas.microsoft.com/office/powerpoint/2010/main" val="233457466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ktbeschreib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1999228" y="1444639"/>
            <a:ext cx="9379974" cy="1005247"/>
          </a:xfrm>
          <a:prstGeom prst="rect">
            <a:avLst/>
          </a:prstGeom>
        </p:spPr>
        <p:txBody>
          <a:bodyPr vert="horz" lIns="0" tIns="0" rIns="0" bIns="0" anchor="b"/>
          <a:lstStyle>
            <a:lvl1pPr marL="0" indent="0">
              <a:buFontTx/>
              <a:buNone/>
              <a:defRPr sz="2400" b="1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AT" dirty="0"/>
              <a:t>Mastertextformat bearbeiten</a:t>
            </a:r>
          </a:p>
        </p:txBody>
      </p:sp>
      <p:sp>
        <p:nvSpPr>
          <p:cNvPr id="6" name="Textplatzhalt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999228" y="2687489"/>
            <a:ext cx="9379987" cy="2756053"/>
          </a:xfrm>
          <a:prstGeom prst="rect">
            <a:avLst/>
          </a:prstGeom>
        </p:spPr>
        <p:txBody>
          <a:bodyPr vert="horz" lIns="0" tIns="0" rIns="0" bIns="0" anchor="t"/>
          <a:lstStyle>
            <a:lvl1pPr marL="368515" indent="-285722">
              <a:lnSpc>
                <a:spcPct val="100000"/>
              </a:lnSpc>
              <a:spcBef>
                <a:spcPts val="432"/>
              </a:spcBef>
              <a:spcAft>
                <a:spcPts val="0"/>
              </a:spcAft>
              <a:buFont typeface="Symbol" panose="05050102010706020507" pitchFamily="18" charset="2"/>
              <a:buChar char="-"/>
              <a:defRPr sz="1801" baseline="0">
                <a:solidFill>
                  <a:srgbClr val="00377A"/>
                </a:solidFill>
                <a:latin typeface="Arial"/>
                <a:cs typeface="Arial"/>
              </a:defRPr>
            </a:lvl1pPr>
            <a:lvl2pPr marL="742876" indent="-285722">
              <a:buFont typeface="Symbol" panose="05050102010706020507" pitchFamily="18" charset="2"/>
              <a:buChar char="-"/>
              <a:defRPr sz="1801" u="none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de-AT" dirty="0"/>
              <a:t>Text</a:t>
            </a:r>
          </a:p>
          <a:p>
            <a:pPr lvl="1"/>
            <a:r>
              <a:rPr lang="de-AT" dirty="0"/>
              <a:t>Text</a:t>
            </a:r>
          </a:p>
        </p:txBody>
      </p:sp>
      <p:sp>
        <p:nvSpPr>
          <p:cNvPr id="9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806468" y="523507"/>
            <a:ext cx="5287433" cy="314156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100" b="1" u="sng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 err="1"/>
              <a:t>aws</a:t>
            </a:r>
            <a:r>
              <a:rPr lang="de-DE" dirty="0"/>
              <a:t> Produkttitel</a:t>
            </a:r>
          </a:p>
        </p:txBody>
      </p:sp>
      <p:pic>
        <p:nvPicPr>
          <p:cNvPr id="10" name="Bild 2" descr="pfeil.pn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755"/>
          <a:stretch/>
        </p:blipFill>
        <p:spPr>
          <a:xfrm>
            <a:off x="-1" y="2277047"/>
            <a:ext cx="1833283" cy="2313432"/>
          </a:xfrm>
          <a:prstGeom prst="rect">
            <a:avLst/>
          </a:prstGeom>
        </p:spPr>
      </p:pic>
      <p:sp>
        <p:nvSpPr>
          <p:cNvPr id="11" name="Oval 3"/>
          <p:cNvSpPr>
            <a:spLocks noChangeAspect="1"/>
          </p:cNvSpPr>
          <p:nvPr userDrawn="1"/>
        </p:nvSpPr>
        <p:spPr>
          <a:xfrm>
            <a:off x="319548" y="2556388"/>
            <a:ext cx="1260000" cy="1260000"/>
          </a:xfrm>
          <a:prstGeom prst="ellipse">
            <a:avLst/>
          </a:prstGeom>
          <a:solidFill>
            <a:srgbClr val="002469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accent2"/>
              </a:solidFill>
            </a:endParaRPr>
          </a:p>
        </p:txBody>
      </p:sp>
      <p:sp>
        <p:nvSpPr>
          <p:cNvPr id="12" name="Bildplatzhalter 7"/>
          <p:cNvSpPr>
            <a:spLocks noGrp="1"/>
          </p:cNvSpPr>
          <p:nvPr>
            <p:ph type="pic" sz="quarter" idx="14" hasCustomPrompt="1"/>
          </p:nvPr>
        </p:nvSpPr>
        <p:spPr>
          <a:xfrm>
            <a:off x="490572" y="2738438"/>
            <a:ext cx="914400" cy="914400"/>
          </a:xfrm>
          <a:prstGeom prst="rect">
            <a:avLst/>
          </a:prstGeom>
        </p:spPr>
        <p:txBody>
          <a:bodyPr vert="horz"/>
          <a:lstStyle>
            <a:lvl1pPr marL="0" indent="0">
              <a:buFontTx/>
              <a:buNone/>
              <a:defRPr sz="14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de-DE" dirty="0"/>
              <a:t>Image</a:t>
            </a:r>
          </a:p>
        </p:txBody>
      </p:sp>
    </p:spTree>
    <p:extLst>
      <p:ext uri="{BB962C8B-B14F-4D97-AF65-F5344CB8AC3E}">
        <p14:creationId xmlns:p14="http://schemas.microsoft.com/office/powerpoint/2010/main" val="19547219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6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6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600"/>
                            </p:stCondLst>
                            <p:childTnLst>
                              <p:par>
                                <p:cTn id="1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1" grpId="1" animBg="1"/>
      <p:bldP spid="12" grpId="0"/>
    </p:bldLst>
  </p:timing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dukte_Tabelle_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1984375" y="1444639"/>
            <a:ext cx="9394827" cy="1005247"/>
          </a:xfrm>
          <a:prstGeom prst="rect">
            <a:avLst/>
          </a:prstGeom>
        </p:spPr>
        <p:txBody>
          <a:bodyPr vert="horz" lIns="0" tIns="0" rIns="0" bIns="0" anchor="b"/>
          <a:lstStyle>
            <a:lvl1pPr marL="0" indent="0">
              <a:buFontTx/>
              <a:buNone/>
              <a:defRPr sz="2400" b="1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AT" dirty="0"/>
              <a:t>Mastertextformat bearbeiten</a:t>
            </a:r>
          </a:p>
        </p:txBody>
      </p:sp>
      <p:sp>
        <p:nvSpPr>
          <p:cNvPr id="7" name="Tabellenplatzhalter 6"/>
          <p:cNvSpPr>
            <a:spLocks noGrp="1"/>
          </p:cNvSpPr>
          <p:nvPr>
            <p:ph type="tbl" sz="quarter" idx="11" hasCustomPrompt="1"/>
          </p:nvPr>
        </p:nvSpPr>
        <p:spPr>
          <a:xfrm>
            <a:off x="807512" y="3065463"/>
            <a:ext cx="10572749" cy="2829796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401">
                <a:latin typeface="Arial"/>
                <a:cs typeface="Arial"/>
              </a:defRPr>
            </a:lvl1pPr>
          </a:lstStyle>
          <a:p>
            <a:r>
              <a:rPr lang="de-DE" dirty="0"/>
              <a:t>                          Tabelle einfügen 4 Spalten</a:t>
            </a:r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806468" y="523507"/>
            <a:ext cx="5287433" cy="314156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100" b="1" u="sng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 err="1"/>
              <a:t>aws</a:t>
            </a:r>
            <a:r>
              <a:rPr lang="de-DE" dirty="0"/>
              <a:t> Produkttitel</a:t>
            </a:r>
          </a:p>
        </p:txBody>
      </p:sp>
      <p:pic>
        <p:nvPicPr>
          <p:cNvPr id="6" name="Bild 2" descr="pfeil.pn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755"/>
          <a:stretch/>
        </p:blipFill>
        <p:spPr>
          <a:xfrm>
            <a:off x="-1" y="2277047"/>
            <a:ext cx="1833283" cy="2313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292280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trumente - Übersich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1984375" y="1444639"/>
            <a:ext cx="9373672" cy="1005247"/>
          </a:xfrm>
          <a:prstGeom prst="rect">
            <a:avLst/>
          </a:prstGeom>
        </p:spPr>
        <p:txBody>
          <a:bodyPr vert="horz" lIns="0" tIns="0" rIns="0" bIns="0" anchor="b"/>
          <a:lstStyle>
            <a:lvl1pPr marL="0" indent="0">
              <a:buFontTx/>
              <a:buNone/>
              <a:defRPr sz="3001" b="1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AT" dirty="0"/>
              <a:t>Mastertextformat bearbeiten</a:t>
            </a:r>
          </a:p>
        </p:txBody>
      </p:sp>
      <p:sp>
        <p:nvSpPr>
          <p:cNvPr id="6" name="Textplatzhalt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984375" y="2687489"/>
            <a:ext cx="9373672" cy="2756053"/>
          </a:xfrm>
          <a:prstGeom prst="rect">
            <a:avLst/>
          </a:prstGeom>
        </p:spPr>
        <p:txBody>
          <a:bodyPr vert="horz" lIns="0" tIns="0" rIns="0" bIns="0" anchor="t"/>
          <a:lstStyle>
            <a:lvl1pPr marL="285722" indent="-285722">
              <a:buFont typeface="Symbol" panose="05050102010706020507" pitchFamily="18" charset="2"/>
              <a:buChar char="-"/>
              <a:defRPr sz="1801">
                <a:solidFill>
                  <a:srgbClr val="00377A"/>
                </a:solidFill>
                <a:latin typeface="Arial"/>
                <a:cs typeface="Arial"/>
              </a:defRPr>
            </a:lvl1pPr>
            <a:lvl2pPr marL="541286" indent="-257152" defTabSz="541286">
              <a:defRPr sz="1801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07960" indent="-266673" defTabSz="449218">
              <a:buFont typeface="Symbol" panose="05050102010706020507" pitchFamily="18" charset="2"/>
              <a:buChar char="-"/>
              <a:defRPr sz="1801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</a:lstStyle>
          <a:p>
            <a:pPr lvl="0"/>
            <a:r>
              <a:rPr lang="de-AT" dirty="0"/>
              <a:t>Mastertextformat bearbeiten</a:t>
            </a:r>
          </a:p>
          <a:p>
            <a:pPr lvl="1"/>
            <a:r>
              <a:rPr lang="de-AT" dirty="0" err="1"/>
              <a:t>Asdf</a:t>
            </a:r>
            <a:endParaRPr lang="de-AT" dirty="0"/>
          </a:p>
          <a:p>
            <a:pPr lvl="2"/>
            <a:r>
              <a:rPr lang="de-AT" dirty="0" err="1"/>
              <a:t>asdf</a:t>
            </a:r>
            <a:endParaRPr lang="de-AT" dirty="0"/>
          </a:p>
          <a:p>
            <a:pPr lvl="2"/>
            <a:endParaRPr lang="de-AT" dirty="0"/>
          </a:p>
        </p:txBody>
      </p:sp>
      <p:sp>
        <p:nvSpPr>
          <p:cNvPr id="9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806468" y="523507"/>
            <a:ext cx="5287433" cy="314156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100" b="1" u="none" baseline="0">
                <a:solidFill>
                  <a:srgbClr val="00377A"/>
                </a:solidFill>
                <a:uFill>
                  <a:solidFill>
                    <a:srgbClr val="00377A"/>
                  </a:solidFill>
                </a:uFill>
                <a:latin typeface="Arial"/>
                <a:cs typeface="Arial"/>
              </a:defRPr>
            </a:lvl1pPr>
          </a:lstStyle>
          <a:p>
            <a:pPr lvl="0"/>
            <a:r>
              <a:rPr lang="de-DE" dirty="0" err="1"/>
              <a:t>aws</a:t>
            </a:r>
            <a:r>
              <a:rPr lang="de-DE" dirty="0"/>
              <a:t>  Produkttitel</a:t>
            </a:r>
          </a:p>
        </p:txBody>
      </p:sp>
      <p:pic>
        <p:nvPicPr>
          <p:cNvPr id="10" name="Bild 2" descr="pfeil.pn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755"/>
          <a:stretch/>
        </p:blipFill>
        <p:spPr>
          <a:xfrm>
            <a:off x="-1" y="2277047"/>
            <a:ext cx="1833283" cy="2313432"/>
          </a:xfrm>
          <a:prstGeom prst="rect">
            <a:avLst/>
          </a:prstGeom>
        </p:spPr>
      </p:pic>
      <p:sp>
        <p:nvSpPr>
          <p:cNvPr id="11" name="Oval 3"/>
          <p:cNvSpPr>
            <a:spLocks noChangeAspect="1"/>
          </p:cNvSpPr>
          <p:nvPr userDrawn="1"/>
        </p:nvSpPr>
        <p:spPr>
          <a:xfrm>
            <a:off x="319548" y="2556388"/>
            <a:ext cx="1260000" cy="1260000"/>
          </a:xfrm>
          <a:prstGeom prst="ellipse">
            <a:avLst/>
          </a:prstGeom>
          <a:solidFill>
            <a:srgbClr val="0099FF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accent2"/>
              </a:solidFill>
            </a:endParaRPr>
          </a:p>
        </p:txBody>
      </p:sp>
      <p:sp>
        <p:nvSpPr>
          <p:cNvPr id="12" name="Bildplatzhalter 7"/>
          <p:cNvSpPr>
            <a:spLocks noGrp="1"/>
          </p:cNvSpPr>
          <p:nvPr>
            <p:ph type="pic" sz="quarter" idx="13" hasCustomPrompt="1"/>
          </p:nvPr>
        </p:nvSpPr>
        <p:spPr>
          <a:xfrm>
            <a:off x="490572" y="2738438"/>
            <a:ext cx="914400" cy="914400"/>
          </a:xfrm>
          <a:prstGeom prst="rect">
            <a:avLst/>
          </a:prstGeom>
        </p:spPr>
        <p:txBody>
          <a:bodyPr vert="horz"/>
          <a:lstStyle>
            <a:lvl1pPr marL="0" indent="0">
              <a:buFontTx/>
              <a:buNone/>
              <a:defRPr sz="140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de-DE" dirty="0"/>
              <a:t>Image</a:t>
            </a:r>
          </a:p>
        </p:txBody>
      </p:sp>
    </p:spTree>
    <p:extLst>
      <p:ext uri="{BB962C8B-B14F-4D97-AF65-F5344CB8AC3E}">
        <p14:creationId xmlns:p14="http://schemas.microsoft.com/office/powerpoint/2010/main" val="35871227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1" grpId="1" animBg="1"/>
      <p:bldP spid="12" grpId="0"/>
    </p:bld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trumente - Übersich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7" hasCustomPrompt="1"/>
          </p:nvPr>
        </p:nvSpPr>
        <p:spPr>
          <a:xfrm>
            <a:off x="806451" y="2260693"/>
            <a:ext cx="3384000" cy="1984377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200" baseline="0">
                <a:latin typeface="Arial" charset="0"/>
              </a:defRPr>
            </a:lvl1pPr>
          </a:lstStyle>
          <a:p>
            <a:r>
              <a:rPr lang="de-DE" dirty="0"/>
              <a:t>Bild durch </a:t>
            </a:r>
            <a:r>
              <a:rPr lang="de-DE"/>
              <a:t>klicken hinzufügen</a:t>
            </a:r>
            <a:endParaRPr lang="de-DE" dirty="0"/>
          </a:p>
        </p:txBody>
      </p:sp>
      <p:sp>
        <p:nvSpPr>
          <p:cNvPr id="13" name="Bildplatzhalter 2"/>
          <p:cNvSpPr>
            <a:spLocks noGrp="1"/>
          </p:cNvSpPr>
          <p:nvPr>
            <p:ph type="pic" sz="quarter" idx="20" hasCustomPrompt="1"/>
          </p:nvPr>
        </p:nvSpPr>
        <p:spPr>
          <a:xfrm>
            <a:off x="4380716" y="2260695"/>
            <a:ext cx="3384000" cy="1984377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200" baseline="0">
                <a:latin typeface="Arial" charset="0"/>
              </a:defRPr>
            </a:lvl1pPr>
          </a:lstStyle>
          <a:p>
            <a:r>
              <a:rPr lang="de-DE" dirty="0"/>
              <a:t>Bild durch </a:t>
            </a:r>
            <a:r>
              <a:rPr lang="de-DE"/>
              <a:t>klicken hinzufügen</a:t>
            </a:r>
            <a:endParaRPr lang="de-DE" dirty="0"/>
          </a:p>
        </p:txBody>
      </p:sp>
      <p:sp>
        <p:nvSpPr>
          <p:cNvPr id="14" name="Bildplatzhalter 2"/>
          <p:cNvSpPr>
            <a:spLocks noGrp="1"/>
          </p:cNvSpPr>
          <p:nvPr>
            <p:ph type="pic" sz="quarter" idx="21" hasCustomPrompt="1"/>
          </p:nvPr>
        </p:nvSpPr>
        <p:spPr>
          <a:xfrm>
            <a:off x="7963451" y="2260693"/>
            <a:ext cx="3384000" cy="1984377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200" baseline="0">
                <a:latin typeface="Arial" charset="0"/>
              </a:defRPr>
            </a:lvl1pPr>
          </a:lstStyle>
          <a:p>
            <a:r>
              <a:rPr lang="de-DE" dirty="0"/>
              <a:t>Bild durch </a:t>
            </a:r>
            <a:r>
              <a:rPr lang="de-DE"/>
              <a:t>klicken hinzufügen</a:t>
            </a:r>
            <a:endParaRPr lang="de-DE" dirty="0"/>
          </a:p>
        </p:txBody>
      </p:sp>
      <p:sp>
        <p:nvSpPr>
          <p:cNvPr id="9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806468" y="523507"/>
            <a:ext cx="5287433" cy="314156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100" b="1" u="sng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 err="1"/>
              <a:t>aws</a:t>
            </a:r>
            <a:r>
              <a:rPr lang="de-DE" dirty="0"/>
              <a:t> Produkttitel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817033" y="4373822"/>
            <a:ext cx="3384000" cy="1323735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marR="0" indent="0" algn="l" defTabSz="457154" rtl="0" eaLnBrk="1" fontAlgn="auto" latinLnBrk="0" hangingPunct="1">
              <a:lnSpc>
                <a:spcPct val="110000"/>
              </a:lnSpc>
              <a:spcBef>
                <a:spcPts val="25"/>
              </a:spcBef>
              <a:spcAft>
                <a:spcPts val="0"/>
              </a:spcAft>
              <a:buClr>
                <a:srgbClr val="00AEEF"/>
              </a:buClr>
              <a:buSzPct val="100000"/>
              <a:buFontTx/>
              <a:buNone/>
              <a:tabLst/>
              <a:defRPr sz="1300" b="0" baseline="0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AT" dirty="0"/>
              <a:t>Mastertextformat bearbeiten</a:t>
            </a:r>
          </a:p>
        </p:txBody>
      </p:sp>
      <p:sp>
        <p:nvSpPr>
          <p:cNvPr id="15" name="Textplatzhalter 6"/>
          <p:cNvSpPr>
            <a:spLocks noGrp="1"/>
          </p:cNvSpPr>
          <p:nvPr>
            <p:ph type="body" sz="quarter" idx="22"/>
          </p:nvPr>
        </p:nvSpPr>
        <p:spPr>
          <a:xfrm>
            <a:off x="4391318" y="4373822"/>
            <a:ext cx="3394585" cy="1323735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marR="0" indent="0" algn="l" defTabSz="457154" rtl="0" eaLnBrk="1" fontAlgn="auto" latinLnBrk="0" hangingPunct="1">
              <a:lnSpc>
                <a:spcPct val="110000"/>
              </a:lnSpc>
              <a:spcBef>
                <a:spcPts val="25"/>
              </a:spcBef>
              <a:spcAft>
                <a:spcPts val="0"/>
              </a:spcAft>
              <a:buClr>
                <a:srgbClr val="00AEEF"/>
              </a:buClr>
              <a:buSzPct val="100000"/>
              <a:buFontTx/>
              <a:buNone/>
              <a:tabLst/>
              <a:defRPr sz="1300" b="0" baseline="0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AT" dirty="0"/>
              <a:t>Mastertextformat bearbeiten</a:t>
            </a:r>
          </a:p>
        </p:txBody>
      </p:sp>
      <p:sp>
        <p:nvSpPr>
          <p:cNvPr id="16" name="Textplatzhalter 6"/>
          <p:cNvSpPr>
            <a:spLocks noGrp="1"/>
          </p:cNvSpPr>
          <p:nvPr>
            <p:ph type="body" sz="quarter" idx="23"/>
          </p:nvPr>
        </p:nvSpPr>
        <p:spPr>
          <a:xfrm>
            <a:off x="7974033" y="4373818"/>
            <a:ext cx="3403051" cy="1331231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marR="0" indent="0" algn="l" defTabSz="457154" rtl="0" eaLnBrk="1" fontAlgn="auto" latinLnBrk="0" hangingPunct="1">
              <a:lnSpc>
                <a:spcPct val="110000"/>
              </a:lnSpc>
              <a:spcBef>
                <a:spcPts val="25"/>
              </a:spcBef>
              <a:spcAft>
                <a:spcPts val="0"/>
              </a:spcAft>
              <a:buClr>
                <a:srgbClr val="00AEEF"/>
              </a:buClr>
              <a:buSzPct val="100000"/>
              <a:buFontTx/>
              <a:buNone/>
              <a:tabLst/>
              <a:defRPr sz="1300" b="0" baseline="0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AT" dirty="0"/>
              <a:t>Mastertextformat bearbeiten</a:t>
            </a:r>
          </a:p>
        </p:txBody>
      </p:sp>
      <p:sp>
        <p:nvSpPr>
          <p:cNvPr id="11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806452" y="1444633"/>
            <a:ext cx="10551581" cy="687299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>
              <a:buFontTx/>
              <a:buNone/>
              <a:defRPr sz="2400" b="1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AT" dirty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5252593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13" grpId="0"/>
      <p:bldP spid="14" grpId="0"/>
    </p:bld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Illustration fre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6735300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 Bilder mit B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7" hasCustomPrompt="1"/>
          </p:nvPr>
        </p:nvSpPr>
        <p:spPr>
          <a:xfrm>
            <a:off x="806451" y="2260676"/>
            <a:ext cx="3384000" cy="1984377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200" baseline="0">
                <a:latin typeface="Arial" charset="0"/>
              </a:defRPr>
            </a:lvl1pPr>
          </a:lstStyle>
          <a:p>
            <a:r>
              <a:rPr lang="de-DE" dirty="0"/>
              <a:t>Bild durch </a:t>
            </a:r>
            <a:r>
              <a:rPr lang="de-DE"/>
              <a:t>klicken hinzufügen</a:t>
            </a:r>
            <a:endParaRPr lang="de-DE" dirty="0"/>
          </a:p>
        </p:txBody>
      </p:sp>
      <p:sp>
        <p:nvSpPr>
          <p:cNvPr id="13" name="Bildplatzhalter 2"/>
          <p:cNvSpPr>
            <a:spLocks noGrp="1"/>
          </p:cNvSpPr>
          <p:nvPr>
            <p:ph type="pic" sz="quarter" idx="20" hasCustomPrompt="1"/>
          </p:nvPr>
        </p:nvSpPr>
        <p:spPr>
          <a:xfrm>
            <a:off x="4380716" y="2260677"/>
            <a:ext cx="3384000" cy="1984377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200" baseline="0">
                <a:latin typeface="Arial" charset="0"/>
              </a:defRPr>
            </a:lvl1pPr>
          </a:lstStyle>
          <a:p>
            <a:r>
              <a:rPr lang="de-DE" dirty="0"/>
              <a:t>Bild durch </a:t>
            </a:r>
            <a:r>
              <a:rPr lang="de-DE"/>
              <a:t>klicken hinzufügen</a:t>
            </a:r>
            <a:endParaRPr lang="de-DE" dirty="0"/>
          </a:p>
        </p:txBody>
      </p:sp>
      <p:sp>
        <p:nvSpPr>
          <p:cNvPr id="14" name="Bildplatzhalter 2"/>
          <p:cNvSpPr>
            <a:spLocks noGrp="1"/>
          </p:cNvSpPr>
          <p:nvPr>
            <p:ph type="pic" sz="quarter" idx="21" hasCustomPrompt="1"/>
          </p:nvPr>
        </p:nvSpPr>
        <p:spPr>
          <a:xfrm>
            <a:off x="7963451" y="2260676"/>
            <a:ext cx="3384000" cy="1984377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200" baseline="0">
                <a:latin typeface="Arial" charset="0"/>
              </a:defRPr>
            </a:lvl1pPr>
          </a:lstStyle>
          <a:p>
            <a:r>
              <a:rPr lang="de-DE" dirty="0"/>
              <a:t>Bild durch </a:t>
            </a:r>
            <a:r>
              <a:rPr lang="de-DE"/>
              <a:t>klicken hinzufügen</a:t>
            </a:r>
            <a:endParaRPr lang="de-DE" dirty="0"/>
          </a:p>
        </p:txBody>
      </p:sp>
      <p:sp>
        <p:nvSpPr>
          <p:cNvPr id="9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806452" y="523506"/>
            <a:ext cx="5287433" cy="314156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100" b="1" u="sng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 err="1"/>
              <a:t>aws</a:t>
            </a:r>
            <a:r>
              <a:rPr lang="de-DE" dirty="0"/>
              <a:t> Produkttitel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817033" y="4373804"/>
            <a:ext cx="3384000" cy="1323735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marR="0" indent="0" algn="l" defTabSz="457200" rtl="0" eaLnBrk="1" fontAlgn="auto" latinLnBrk="0" hangingPunct="1">
              <a:lnSpc>
                <a:spcPct val="110000"/>
              </a:lnSpc>
              <a:spcBef>
                <a:spcPts val="24"/>
              </a:spcBef>
              <a:spcAft>
                <a:spcPts val="0"/>
              </a:spcAft>
              <a:buClr>
                <a:srgbClr val="00AEEF"/>
              </a:buClr>
              <a:buSzPct val="100000"/>
              <a:buFontTx/>
              <a:buNone/>
              <a:tabLst/>
              <a:defRPr sz="1300" b="0" baseline="0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AT" dirty="0"/>
              <a:t>Mastertextformat bearbeiten</a:t>
            </a:r>
          </a:p>
        </p:txBody>
      </p:sp>
      <p:sp>
        <p:nvSpPr>
          <p:cNvPr id="15" name="Textplatzhalter 6"/>
          <p:cNvSpPr>
            <a:spLocks noGrp="1"/>
          </p:cNvSpPr>
          <p:nvPr>
            <p:ph type="body" sz="quarter" idx="22"/>
          </p:nvPr>
        </p:nvSpPr>
        <p:spPr>
          <a:xfrm>
            <a:off x="4391300" y="4373804"/>
            <a:ext cx="3394585" cy="1323735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marR="0" indent="0" algn="l" defTabSz="457200" rtl="0" eaLnBrk="1" fontAlgn="auto" latinLnBrk="0" hangingPunct="1">
              <a:lnSpc>
                <a:spcPct val="110000"/>
              </a:lnSpc>
              <a:spcBef>
                <a:spcPts val="24"/>
              </a:spcBef>
              <a:spcAft>
                <a:spcPts val="0"/>
              </a:spcAft>
              <a:buClr>
                <a:srgbClr val="00AEEF"/>
              </a:buClr>
              <a:buSzPct val="100000"/>
              <a:buFontTx/>
              <a:buNone/>
              <a:tabLst/>
              <a:defRPr sz="1300" b="0" baseline="0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AT" dirty="0"/>
              <a:t>Mastertextformat bearbeiten</a:t>
            </a:r>
          </a:p>
        </p:txBody>
      </p:sp>
      <p:sp>
        <p:nvSpPr>
          <p:cNvPr id="16" name="Textplatzhalter 6"/>
          <p:cNvSpPr>
            <a:spLocks noGrp="1"/>
          </p:cNvSpPr>
          <p:nvPr>
            <p:ph type="body" sz="quarter" idx="23"/>
          </p:nvPr>
        </p:nvSpPr>
        <p:spPr>
          <a:xfrm>
            <a:off x="7974033" y="4373803"/>
            <a:ext cx="3403051" cy="1331230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marR="0" indent="0" algn="l" defTabSz="457200" rtl="0" eaLnBrk="1" fontAlgn="auto" latinLnBrk="0" hangingPunct="1">
              <a:lnSpc>
                <a:spcPct val="110000"/>
              </a:lnSpc>
              <a:spcBef>
                <a:spcPts val="24"/>
              </a:spcBef>
              <a:spcAft>
                <a:spcPts val="0"/>
              </a:spcAft>
              <a:buClr>
                <a:srgbClr val="00AEEF"/>
              </a:buClr>
              <a:buSzPct val="100000"/>
              <a:buFontTx/>
              <a:buNone/>
              <a:tabLst/>
              <a:defRPr sz="1300" b="0" baseline="0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AT" dirty="0"/>
              <a:t>Mastertextformat bearbeiten</a:t>
            </a:r>
          </a:p>
        </p:txBody>
      </p:sp>
      <p:sp>
        <p:nvSpPr>
          <p:cNvPr id="11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806452" y="1444626"/>
            <a:ext cx="10551581" cy="687298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>
              <a:buFontTx/>
              <a:buNone/>
              <a:defRPr sz="2400" b="1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AT" dirty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12651130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13" grpId="0"/>
      <p:bldP spid="14" grpId="0"/>
    </p:bld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Förderablauf Start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1984376" y="1444639"/>
            <a:ext cx="9394826" cy="1005247"/>
          </a:xfrm>
          <a:prstGeom prst="rect">
            <a:avLst/>
          </a:prstGeom>
        </p:spPr>
        <p:txBody>
          <a:bodyPr vert="horz" lIns="0" tIns="0" rIns="0" bIns="0" anchor="b"/>
          <a:lstStyle>
            <a:lvl1pPr marL="0" indent="0">
              <a:buFontTx/>
              <a:buNone/>
              <a:defRPr sz="2400" b="1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AT" dirty="0"/>
              <a:t>Mastertextformat bearbeiten</a:t>
            </a:r>
          </a:p>
        </p:txBody>
      </p:sp>
      <p:sp>
        <p:nvSpPr>
          <p:cNvPr id="8" name="Bildplatzhalter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2587029" y="3065472"/>
            <a:ext cx="1200000" cy="899999"/>
          </a:xfrm>
          <a:prstGeom prst="rect">
            <a:avLst/>
          </a:prstGeom>
        </p:spPr>
        <p:txBody>
          <a:bodyPr vert="horz"/>
          <a:lstStyle>
            <a:lvl1pPr marL="0" indent="0">
              <a:buFontTx/>
              <a:buNone/>
              <a:defRPr sz="1200">
                <a:latin typeface="Arial"/>
                <a:cs typeface="Arial"/>
              </a:defRPr>
            </a:lvl1pPr>
          </a:lstStyle>
          <a:p>
            <a:r>
              <a:rPr lang="de-DE" dirty="0"/>
              <a:t>Image 1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096351" y="3065463"/>
            <a:ext cx="480000" cy="900000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Tx/>
              <a:buNone/>
              <a:defRPr sz="2400">
                <a:solidFill>
                  <a:srgbClr val="00AEEF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17" name="Textplatzhalt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2096351" y="3975564"/>
            <a:ext cx="2400000" cy="1467991"/>
          </a:xfrm>
          <a:prstGeom prst="rect">
            <a:avLst/>
          </a:prstGeom>
        </p:spPr>
        <p:txBody>
          <a:bodyPr vert="horz" lIns="0" tIns="0" rIns="0" bIns="0" anchor="t"/>
          <a:lstStyle>
            <a:lvl1pPr marL="0" indent="0">
              <a:buFontTx/>
              <a:buNone/>
              <a:defRPr sz="1300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Text eingeben</a:t>
            </a:r>
          </a:p>
        </p:txBody>
      </p:sp>
      <p:sp>
        <p:nvSpPr>
          <p:cNvPr id="20" name="Bildplatzhalter 5"/>
          <p:cNvSpPr>
            <a:spLocks noGrp="1" noChangeAspect="1"/>
          </p:cNvSpPr>
          <p:nvPr>
            <p:ph type="pic" sz="quarter" idx="20" hasCustomPrompt="1"/>
          </p:nvPr>
        </p:nvSpPr>
        <p:spPr>
          <a:xfrm>
            <a:off x="5224395" y="3097559"/>
            <a:ext cx="1200000" cy="899999"/>
          </a:xfrm>
          <a:prstGeom prst="rect">
            <a:avLst/>
          </a:prstGeom>
        </p:spPr>
        <p:txBody>
          <a:bodyPr vert="horz"/>
          <a:lstStyle>
            <a:lvl1pPr marL="0" indent="0">
              <a:buFontTx/>
              <a:buNone/>
              <a:defRPr sz="1200">
                <a:latin typeface="Arial"/>
                <a:cs typeface="Arial"/>
              </a:defRPr>
            </a:lvl1pPr>
          </a:lstStyle>
          <a:p>
            <a:r>
              <a:rPr lang="de-DE" dirty="0"/>
              <a:t>Image 2</a:t>
            </a:r>
          </a:p>
        </p:txBody>
      </p:sp>
      <p:sp>
        <p:nvSpPr>
          <p:cNvPr id="21" name="Textplatzhalter 10"/>
          <p:cNvSpPr>
            <a:spLocks noGrp="1"/>
          </p:cNvSpPr>
          <p:nvPr>
            <p:ph type="body" sz="quarter" idx="21" hasCustomPrompt="1"/>
          </p:nvPr>
        </p:nvSpPr>
        <p:spPr>
          <a:xfrm>
            <a:off x="4733718" y="3065463"/>
            <a:ext cx="480000" cy="900000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Tx/>
              <a:buNone/>
              <a:defRPr sz="2400">
                <a:solidFill>
                  <a:srgbClr val="00AEEF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2</a:t>
            </a:r>
          </a:p>
        </p:txBody>
      </p:sp>
      <p:sp>
        <p:nvSpPr>
          <p:cNvPr id="22" name="Textplatzhalter 10"/>
          <p:cNvSpPr>
            <a:spLocks noGrp="1"/>
          </p:cNvSpPr>
          <p:nvPr>
            <p:ph type="body" sz="quarter" idx="22" hasCustomPrompt="1"/>
          </p:nvPr>
        </p:nvSpPr>
        <p:spPr>
          <a:xfrm>
            <a:off x="4733718" y="3975564"/>
            <a:ext cx="2400000" cy="1467991"/>
          </a:xfrm>
          <a:prstGeom prst="rect">
            <a:avLst/>
          </a:prstGeom>
        </p:spPr>
        <p:txBody>
          <a:bodyPr vert="horz" lIns="0" tIns="0" rIns="0" bIns="0" anchor="t"/>
          <a:lstStyle>
            <a:lvl1pPr marL="0" indent="0">
              <a:buFontTx/>
              <a:buNone/>
              <a:defRPr sz="1300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Text eingeben</a:t>
            </a:r>
          </a:p>
        </p:txBody>
      </p:sp>
      <p:sp>
        <p:nvSpPr>
          <p:cNvPr id="23" name="Bildplatzhalter 5"/>
          <p:cNvSpPr>
            <a:spLocks noGrp="1" noChangeAspect="1"/>
          </p:cNvSpPr>
          <p:nvPr>
            <p:ph type="pic" sz="quarter" idx="23" hasCustomPrompt="1"/>
          </p:nvPr>
        </p:nvSpPr>
        <p:spPr>
          <a:xfrm>
            <a:off x="7863878" y="3065472"/>
            <a:ext cx="1200000" cy="899999"/>
          </a:xfrm>
          <a:prstGeom prst="rect">
            <a:avLst/>
          </a:prstGeom>
        </p:spPr>
        <p:txBody>
          <a:bodyPr vert="horz"/>
          <a:lstStyle>
            <a:lvl1pPr marL="0" indent="0">
              <a:buFontTx/>
              <a:buNone/>
              <a:defRPr sz="1200">
                <a:latin typeface="Arial"/>
                <a:cs typeface="Arial"/>
              </a:defRPr>
            </a:lvl1pPr>
          </a:lstStyle>
          <a:p>
            <a:r>
              <a:rPr lang="de-DE" dirty="0"/>
              <a:t>Image 3</a:t>
            </a:r>
          </a:p>
        </p:txBody>
      </p:sp>
      <p:sp>
        <p:nvSpPr>
          <p:cNvPr id="24" name="Textplatzhalter 10"/>
          <p:cNvSpPr>
            <a:spLocks noGrp="1"/>
          </p:cNvSpPr>
          <p:nvPr>
            <p:ph type="body" sz="quarter" idx="24" hasCustomPrompt="1"/>
          </p:nvPr>
        </p:nvSpPr>
        <p:spPr>
          <a:xfrm>
            <a:off x="7373201" y="3065463"/>
            <a:ext cx="480000" cy="900000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Tx/>
              <a:buNone/>
              <a:defRPr sz="2400">
                <a:solidFill>
                  <a:srgbClr val="00AEEF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3</a:t>
            </a:r>
          </a:p>
        </p:txBody>
      </p:sp>
      <p:sp>
        <p:nvSpPr>
          <p:cNvPr id="25" name="Textplatzhalter 10"/>
          <p:cNvSpPr>
            <a:spLocks noGrp="1"/>
          </p:cNvSpPr>
          <p:nvPr>
            <p:ph type="body" sz="quarter" idx="25" hasCustomPrompt="1"/>
          </p:nvPr>
        </p:nvSpPr>
        <p:spPr>
          <a:xfrm>
            <a:off x="7373201" y="3975564"/>
            <a:ext cx="2400000" cy="1467991"/>
          </a:xfrm>
          <a:prstGeom prst="rect">
            <a:avLst/>
          </a:prstGeom>
        </p:spPr>
        <p:txBody>
          <a:bodyPr vert="horz" lIns="0" tIns="0" rIns="0" bIns="0" anchor="t"/>
          <a:lstStyle>
            <a:lvl1pPr marL="0" indent="0">
              <a:buFontTx/>
              <a:buNone/>
              <a:defRPr sz="1300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Text eingeben</a:t>
            </a:r>
          </a:p>
        </p:txBody>
      </p:sp>
      <p:sp>
        <p:nvSpPr>
          <p:cNvPr id="14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806468" y="523507"/>
            <a:ext cx="5287433" cy="314156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100" b="1" u="sng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 err="1"/>
              <a:t>aws</a:t>
            </a:r>
            <a:r>
              <a:rPr lang="de-DE" dirty="0"/>
              <a:t> Produkttitel</a:t>
            </a:r>
          </a:p>
        </p:txBody>
      </p:sp>
      <p:cxnSp>
        <p:nvCxnSpPr>
          <p:cNvPr id="6" name="Gerade Verbindung 5"/>
          <p:cNvCxnSpPr/>
          <p:nvPr userDrawn="1"/>
        </p:nvCxnSpPr>
        <p:spPr>
          <a:xfrm>
            <a:off x="1981967" y="3949716"/>
            <a:ext cx="0" cy="2078039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lg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Gerade Verbindung 17"/>
          <p:cNvCxnSpPr/>
          <p:nvPr userDrawn="1"/>
        </p:nvCxnSpPr>
        <p:spPr>
          <a:xfrm>
            <a:off x="4618705" y="3949716"/>
            <a:ext cx="0" cy="2078039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lg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18"/>
          <p:cNvCxnSpPr/>
          <p:nvPr userDrawn="1"/>
        </p:nvCxnSpPr>
        <p:spPr>
          <a:xfrm>
            <a:off x="7260233" y="3958310"/>
            <a:ext cx="0" cy="2069443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lg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Gerade Verbindung 25"/>
          <p:cNvCxnSpPr/>
          <p:nvPr userDrawn="1"/>
        </p:nvCxnSpPr>
        <p:spPr>
          <a:xfrm>
            <a:off x="9917311" y="3949716"/>
            <a:ext cx="0" cy="2078039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lg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8" name="Bild 15" descr="pfeil.pn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755"/>
          <a:stretch/>
        </p:blipFill>
        <p:spPr>
          <a:xfrm>
            <a:off x="-1" y="2277047"/>
            <a:ext cx="1833283" cy="2313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85460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10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10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10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4" dur="10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6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6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11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7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10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/>
      <p:bldP spid="21" grpId="0" build="p">
        <p:tmplLst>
          <p:tmpl lvl="1"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10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/>
      <p:bldP spid="24" grpId="0" build="p">
        <p:tmplLst>
          <p:tmpl lvl="1"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10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Förderablauf Folgeseite - 4 Ite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4054704" y="3065472"/>
            <a:ext cx="1200000" cy="899999"/>
          </a:xfrm>
          <a:prstGeom prst="rect">
            <a:avLst/>
          </a:prstGeom>
        </p:spPr>
        <p:txBody>
          <a:bodyPr vert="horz"/>
          <a:lstStyle>
            <a:lvl1pPr marL="0" indent="0">
              <a:buFontTx/>
              <a:buNone/>
              <a:defRPr sz="1200">
                <a:latin typeface="Arial"/>
                <a:cs typeface="Arial"/>
              </a:defRPr>
            </a:lvl1pPr>
          </a:lstStyle>
          <a:p>
            <a:r>
              <a:rPr lang="de-DE" dirty="0"/>
              <a:t>Image 5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3564027" y="3065463"/>
            <a:ext cx="480000" cy="900000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Tx/>
              <a:buNone/>
              <a:defRPr sz="2400">
                <a:solidFill>
                  <a:srgbClr val="00AEEF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5</a:t>
            </a:r>
          </a:p>
        </p:txBody>
      </p:sp>
      <p:sp>
        <p:nvSpPr>
          <p:cNvPr id="17" name="Textplatzhalt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3564027" y="3975564"/>
            <a:ext cx="2400000" cy="1467991"/>
          </a:xfrm>
          <a:prstGeom prst="rect">
            <a:avLst/>
          </a:prstGeom>
        </p:spPr>
        <p:txBody>
          <a:bodyPr vert="horz" lIns="0" tIns="0" rIns="0" bIns="0" anchor="t"/>
          <a:lstStyle>
            <a:lvl1pPr marL="0" indent="0">
              <a:buFontTx/>
              <a:buNone/>
              <a:defRPr sz="1300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Text eingeben</a:t>
            </a:r>
          </a:p>
        </p:txBody>
      </p:sp>
      <p:sp>
        <p:nvSpPr>
          <p:cNvPr id="20" name="Bildplatzhalter 5"/>
          <p:cNvSpPr>
            <a:spLocks noGrp="1" noChangeAspect="1"/>
          </p:cNvSpPr>
          <p:nvPr>
            <p:ph type="pic" sz="quarter" idx="20" hasCustomPrompt="1"/>
          </p:nvPr>
        </p:nvSpPr>
        <p:spPr>
          <a:xfrm>
            <a:off x="6692071" y="3065472"/>
            <a:ext cx="1200000" cy="899999"/>
          </a:xfrm>
          <a:prstGeom prst="rect">
            <a:avLst/>
          </a:prstGeom>
        </p:spPr>
        <p:txBody>
          <a:bodyPr vert="horz"/>
          <a:lstStyle>
            <a:lvl1pPr marL="0" indent="0">
              <a:buFontTx/>
              <a:buNone/>
              <a:defRPr sz="1200">
                <a:latin typeface="Arial"/>
                <a:cs typeface="Arial"/>
              </a:defRPr>
            </a:lvl1pPr>
          </a:lstStyle>
          <a:p>
            <a:r>
              <a:rPr lang="de-DE" dirty="0"/>
              <a:t>Image 3</a:t>
            </a:r>
          </a:p>
        </p:txBody>
      </p:sp>
      <p:sp>
        <p:nvSpPr>
          <p:cNvPr id="21" name="Textplatzhalter 10"/>
          <p:cNvSpPr>
            <a:spLocks noGrp="1"/>
          </p:cNvSpPr>
          <p:nvPr>
            <p:ph type="body" sz="quarter" idx="21" hasCustomPrompt="1"/>
          </p:nvPr>
        </p:nvSpPr>
        <p:spPr>
          <a:xfrm>
            <a:off x="6201393" y="3065463"/>
            <a:ext cx="480000" cy="900000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Tx/>
              <a:buNone/>
              <a:defRPr sz="2400">
                <a:solidFill>
                  <a:srgbClr val="00AEEF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6</a:t>
            </a:r>
          </a:p>
        </p:txBody>
      </p:sp>
      <p:sp>
        <p:nvSpPr>
          <p:cNvPr id="22" name="Textplatzhalter 10"/>
          <p:cNvSpPr>
            <a:spLocks noGrp="1"/>
          </p:cNvSpPr>
          <p:nvPr>
            <p:ph type="body" sz="quarter" idx="22" hasCustomPrompt="1"/>
          </p:nvPr>
        </p:nvSpPr>
        <p:spPr>
          <a:xfrm>
            <a:off x="6201393" y="3975564"/>
            <a:ext cx="2400000" cy="1467991"/>
          </a:xfrm>
          <a:prstGeom prst="rect">
            <a:avLst/>
          </a:prstGeom>
        </p:spPr>
        <p:txBody>
          <a:bodyPr vert="horz" lIns="0" tIns="0" rIns="0" bIns="0" anchor="t"/>
          <a:lstStyle>
            <a:lvl1pPr marL="0" indent="0">
              <a:buFontTx/>
              <a:buNone/>
              <a:defRPr sz="1300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Text eingeben</a:t>
            </a:r>
          </a:p>
        </p:txBody>
      </p:sp>
      <p:sp>
        <p:nvSpPr>
          <p:cNvPr id="23" name="Bildplatzhalter 5"/>
          <p:cNvSpPr>
            <a:spLocks noGrp="1" noChangeAspect="1"/>
          </p:cNvSpPr>
          <p:nvPr>
            <p:ph type="pic" sz="quarter" idx="23" hasCustomPrompt="1"/>
          </p:nvPr>
        </p:nvSpPr>
        <p:spPr>
          <a:xfrm>
            <a:off x="9331553" y="3065472"/>
            <a:ext cx="1200000" cy="899999"/>
          </a:xfrm>
          <a:prstGeom prst="rect">
            <a:avLst/>
          </a:prstGeom>
        </p:spPr>
        <p:txBody>
          <a:bodyPr vert="horz"/>
          <a:lstStyle>
            <a:lvl1pPr marL="0" indent="0">
              <a:buFontTx/>
              <a:buNone/>
              <a:defRPr sz="1200">
                <a:latin typeface="Arial"/>
                <a:cs typeface="Arial"/>
              </a:defRPr>
            </a:lvl1pPr>
          </a:lstStyle>
          <a:p>
            <a:r>
              <a:rPr lang="de-DE" dirty="0"/>
              <a:t>Image 4</a:t>
            </a:r>
          </a:p>
        </p:txBody>
      </p:sp>
      <p:sp>
        <p:nvSpPr>
          <p:cNvPr id="24" name="Textplatzhalter 10"/>
          <p:cNvSpPr>
            <a:spLocks noGrp="1"/>
          </p:cNvSpPr>
          <p:nvPr>
            <p:ph type="body" sz="quarter" idx="24" hasCustomPrompt="1"/>
          </p:nvPr>
        </p:nvSpPr>
        <p:spPr>
          <a:xfrm>
            <a:off x="8840876" y="3065463"/>
            <a:ext cx="480000" cy="900000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Tx/>
              <a:buNone/>
              <a:defRPr sz="2400">
                <a:solidFill>
                  <a:srgbClr val="00AEEF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7</a:t>
            </a:r>
          </a:p>
        </p:txBody>
      </p:sp>
      <p:sp>
        <p:nvSpPr>
          <p:cNvPr id="25" name="Textplatzhalter 10"/>
          <p:cNvSpPr>
            <a:spLocks noGrp="1"/>
          </p:cNvSpPr>
          <p:nvPr>
            <p:ph type="body" sz="quarter" idx="25" hasCustomPrompt="1"/>
          </p:nvPr>
        </p:nvSpPr>
        <p:spPr>
          <a:xfrm>
            <a:off x="8840876" y="3975564"/>
            <a:ext cx="2400000" cy="1467991"/>
          </a:xfrm>
          <a:prstGeom prst="rect">
            <a:avLst/>
          </a:prstGeom>
        </p:spPr>
        <p:txBody>
          <a:bodyPr vert="horz" lIns="0" tIns="0" rIns="0" bIns="0" anchor="t"/>
          <a:lstStyle>
            <a:lvl1pPr marL="0" indent="0">
              <a:buFontTx/>
              <a:buNone/>
              <a:defRPr sz="1300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Text eingeben</a:t>
            </a:r>
          </a:p>
        </p:txBody>
      </p:sp>
      <p:sp>
        <p:nvSpPr>
          <p:cNvPr id="26" name="Bildplatzhalter 5"/>
          <p:cNvSpPr>
            <a:spLocks noGrp="1" noChangeAspect="1"/>
          </p:cNvSpPr>
          <p:nvPr>
            <p:ph type="pic" sz="quarter" idx="26" hasCustomPrompt="1"/>
          </p:nvPr>
        </p:nvSpPr>
        <p:spPr>
          <a:xfrm>
            <a:off x="1404637" y="3065472"/>
            <a:ext cx="1200000" cy="899999"/>
          </a:xfrm>
          <a:prstGeom prst="rect">
            <a:avLst/>
          </a:prstGeom>
        </p:spPr>
        <p:txBody>
          <a:bodyPr vert="horz"/>
          <a:lstStyle>
            <a:lvl1pPr marL="0" indent="0">
              <a:buFontTx/>
              <a:buNone/>
              <a:defRPr sz="1200">
                <a:latin typeface="Arial"/>
                <a:cs typeface="Arial"/>
              </a:defRPr>
            </a:lvl1pPr>
          </a:lstStyle>
          <a:p>
            <a:r>
              <a:rPr lang="de-DE" dirty="0"/>
              <a:t>Image 4</a:t>
            </a:r>
          </a:p>
        </p:txBody>
      </p:sp>
      <p:sp>
        <p:nvSpPr>
          <p:cNvPr id="27" name="Textplatzhalter 10"/>
          <p:cNvSpPr>
            <a:spLocks noGrp="1"/>
          </p:cNvSpPr>
          <p:nvPr>
            <p:ph type="body" sz="quarter" idx="27" hasCustomPrompt="1"/>
          </p:nvPr>
        </p:nvSpPr>
        <p:spPr>
          <a:xfrm>
            <a:off x="913960" y="3065463"/>
            <a:ext cx="480000" cy="900000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Tx/>
              <a:buNone/>
              <a:defRPr sz="2400">
                <a:solidFill>
                  <a:srgbClr val="00AEEF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4</a:t>
            </a:r>
          </a:p>
        </p:txBody>
      </p:sp>
      <p:sp>
        <p:nvSpPr>
          <p:cNvPr id="28" name="Textplatzhalter 10"/>
          <p:cNvSpPr>
            <a:spLocks noGrp="1"/>
          </p:cNvSpPr>
          <p:nvPr>
            <p:ph type="body" sz="quarter" idx="28" hasCustomPrompt="1"/>
          </p:nvPr>
        </p:nvSpPr>
        <p:spPr>
          <a:xfrm>
            <a:off x="913960" y="3975564"/>
            <a:ext cx="2400000" cy="1467991"/>
          </a:xfrm>
          <a:prstGeom prst="rect">
            <a:avLst/>
          </a:prstGeom>
        </p:spPr>
        <p:txBody>
          <a:bodyPr vert="horz" lIns="0" tIns="0" rIns="0" bIns="0" anchor="t"/>
          <a:lstStyle>
            <a:lvl1pPr marL="0" indent="0">
              <a:buFontTx/>
              <a:buNone/>
              <a:defRPr sz="1300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Text eingeben</a:t>
            </a:r>
          </a:p>
        </p:txBody>
      </p:sp>
      <p:sp>
        <p:nvSpPr>
          <p:cNvPr id="15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806468" y="523507"/>
            <a:ext cx="5287433" cy="314156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100" b="1" u="sng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 err="1"/>
              <a:t>aws</a:t>
            </a:r>
            <a:r>
              <a:rPr lang="de-DE" dirty="0"/>
              <a:t> Produkttitel</a:t>
            </a:r>
          </a:p>
        </p:txBody>
      </p:sp>
      <p:sp>
        <p:nvSpPr>
          <p:cNvPr id="16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814937" y="1444639"/>
            <a:ext cx="10515903" cy="1005247"/>
          </a:xfrm>
          <a:prstGeom prst="rect">
            <a:avLst/>
          </a:prstGeom>
        </p:spPr>
        <p:txBody>
          <a:bodyPr vert="horz" lIns="0" tIns="0" rIns="0" bIns="0" anchor="b"/>
          <a:lstStyle>
            <a:lvl1pPr marL="0" indent="0">
              <a:buFontTx/>
              <a:buNone/>
              <a:defRPr sz="2400" b="1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AT" dirty="0"/>
              <a:t>Mastertextformat bearbeiten</a:t>
            </a:r>
          </a:p>
        </p:txBody>
      </p:sp>
      <p:cxnSp>
        <p:nvCxnSpPr>
          <p:cNvPr id="18" name="Gerade Verbindung 17"/>
          <p:cNvCxnSpPr/>
          <p:nvPr userDrawn="1"/>
        </p:nvCxnSpPr>
        <p:spPr>
          <a:xfrm>
            <a:off x="814009" y="3949714"/>
            <a:ext cx="0" cy="2103291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lg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28"/>
          <p:cNvCxnSpPr/>
          <p:nvPr userDrawn="1"/>
        </p:nvCxnSpPr>
        <p:spPr>
          <a:xfrm flipH="1">
            <a:off x="806453" y="3965478"/>
            <a:ext cx="8467" cy="2062275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lg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29"/>
          <p:cNvCxnSpPr/>
          <p:nvPr userDrawn="1"/>
        </p:nvCxnSpPr>
        <p:spPr>
          <a:xfrm>
            <a:off x="3456517" y="3975564"/>
            <a:ext cx="0" cy="2052191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lg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30"/>
          <p:cNvCxnSpPr/>
          <p:nvPr userDrawn="1"/>
        </p:nvCxnSpPr>
        <p:spPr>
          <a:xfrm>
            <a:off x="6093884" y="3965463"/>
            <a:ext cx="0" cy="2062276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lg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31"/>
          <p:cNvCxnSpPr/>
          <p:nvPr userDrawn="1"/>
        </p:nvCxnSpPr>
        <p:spPr>
          <a:xfrm>
            <a:off x="8739717" y="3965477"/>
            <a:ext cx="0" cy="2062277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lg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3" name="Gerade Verbindung 32"/>
          <p:cNvCxnSpPr/>
          <p:nvPr userDrawn="1"/>
        </p:nvCxnSpPr>
        <p:spPr>
          <a:xfrm>
            <a:off x="11387667" y="3975562"/>
            <a:ext cx="0" cy="2103291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lg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913404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1000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8" dur="10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1000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1" dur="10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10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4" dur="1000"/>
                                        <p:tgtEl>
                                          <p:spTgt spid="2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1000"/>
                            </p:stCondLst>
                            <p:childTnLst>
                              <p:par>
                                <p:cTn id="56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11" grpId="0" build="p">
        <p:tmplLst>
          <p:tmpl lvl="1"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7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10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/>
      <p:bldP spid="21" grpId="0" build="p">
        <p:tmplLst>
          <p:tmpl lvl="1"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10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/>
      <p:bldP spid="24" grpId="0" build="p">
        <p:tmplLst>
          <p:tmpl lvl="1"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5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1000"/>
                        <p:tgtEl>
                          <p:spTgt spid="25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/>
      <p:bldP spid="2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8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1000"/>
                        <p:tgtEl>
                          <p:spTgt spid="2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3 Förderablauf Folgeseite - 3 Ite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4054704" y="3065472"/>
            <a:ext cx="1200000" cy="899999"/>
          </a:xfrm>
          <a:prstGeom prst="rect">
            <a:avLst/>
          </a:prstGeom>
        </p:spPr>
        <p:txBody>
          <a:bodyPr vert="horz"/>
          <a:lstStyle>
            <a:lvl1pPr marL="0" indent="0">
              <a:buFontTx/>
              <a:buNone/>
              <a:defRPr sz="1200">
                <a:latin typeface="Arial"/>
                <a:cs typeface="Arial"/>
              </a:defRPr>
            </a:lvl1pPr>
          </a:lstStyle>
          <a:p>
            <a:r>
              <a:rPr lang="de-DE" dirty="0"/>
              <a:t>Image 5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3564027" y="3065463"/>
            <a:ext cx="480000" cy="900000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Tx/>
              <a:buNone/>
              <a:defRPr sz="2400">
                <a:solidFill>
                  <a:srgbClr val="00AEEF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5</a:t>
            </a:r>
          </a:p>
        </p:txBody>
      </p:sp>
      <p:sp>
        <p:nvSpPr>
          <p:cNvPr id="17" name="Textplatzhalt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3564027" y="3975564"/>
            <a:ext cx="2400000" cy="1467991"/>
          </a:xfrm>
          <a:prstGeom prst="rect">
            <a:avLst/>
          </a:prstGeom>
        </p:spPr>
        <p:txBody>
          <a:bodyPr vert="horz" lIns="0" tIns="0" rIns="0" bIns="0" anchor="t"/>
          <a:lstStyle>
            <a:lvl1pPr marL="0" indent="0">
              <a:buFontTx/>
              <a:buNone/>
              <a:defRPr sz="1300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Text eingeben</a:t>
            </a:r>
          </a:p>
        </p:txBody>
      </p:sp>
      <p:sp>
        <p:nvSpPr>
          <p:cNvPr id="20" name="Bildplatzhalter 5"/>
          <p:cNvSpPr>
            <a:spLocks noGrp="1" noChangeAspect="1"/>
          </p:cNvSpPr>
          <p:nvPr>
            <p:ph type="pic" sz="quarter" idx="20" hasCustomPrompt="1"/>
          </p:nvPr>
        </p:nvSpPr>
        <p:spPr>
          <a:xfrm>
            <a:off x="6692071" y="3065472"/>
            <a:ext cx="1200000" cy="899999"/>
          </a:xfrm>
          <a:prstGeom prst="rect">
            <a:avLst/>
          </a:prstGeom>
        </p:spPr>
        <p:txBody>
          <a:bodyPr vert="horz"/>
          <a:lstStyle>
            <a:lvl1pPr marL="0" indent="0">
              <a:buFontTx/>
              <a:buNone/>
              <a:defRPr sz="1200">
                <a:latin typeface="Arial"/>
                <a:cs typeface="Arial"/>
              </a:defRPr>
            </a:lvl1pPr>
          </a:lstStyle>
          <a:p>
            <a:r>
              <a:rPr lang="de-DE" dirty="0"/>
              <a:t>Image 3</a:t>
            </a:r>
          </a:p>
        </p:txBody>
      </p:sp>
      <p:sp>
        <p:nvSpPr>
          <p:cNvPr id="21" name="Textplatzhalter 10"/>
          <p:cNvSpPr>
            <a:spLocks noGrp="1"/>
          </p:cNvSpPr>
          <p:nvPr>
            <p:ph type="body" sz="quarter" idx="21" hasCustomPrompt="1"/>
          </p:nvPr>
        </p:nvSpPr>
        <p:spPr>
          <a:xfrm>
            <a:off x="6201393" y="3065463"/>
            <a:ext cx="480000" cy="900000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Tx/>
              <a:buNone/>
              <a:defRPr sz="2400">
                <a:solidFill>
                  <a:srgbClr val="00AEEF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6</a:t>
            </a:r>
          </a:p>
        </p:txBody>
      </p:sp>
      <p:sp>
        <p:nvSpPr>
          <p:cNvPr id="22" name="Textplatzhalter 10"/>
          <p:cNvSpPr>
            <a:spLocks noGrp="1"/>
          </p:cNvSpPr>
          <p:nvPr>
            <p:ph type="body" sz="quarter" idx="22" hasCustomPrompt="1"/>
          </p:nvPr>
        </p:nvSpPr>
        <p:spPr>
          <a:xfrm>
            <a:off x="6201393" y="3975564"/>
            <a:ext cx="2400000" cy="1467991"/>
          </a:xfrm>
          <a:prstGeom prst="rect">
            <a:avLst/>
          </a:prstGeom>
        </p:spPr>
        <p:txBody>
          <a:bodyPr vert="horz" lIns="0" tIns="0" rIns="0" bIns="0" anchor="t"/>
          <a:lstStyle>
            <a:lvl1pPr marL="0" indent="0">
              <a:buFontTx/>
              <a:buNone/>
              <a:defRPr sz="1300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Text eingeben</a:t>
            </a:r>
          </a:p>
        </p:txBody>
      </p:sp>
      <p:sp>
        <p:nvSpPr>
          <p:cNvPr id="26" name="Bildplatzhalter 5"/>
          <p:cNvSpPr>
            <a:spLocks noGrp="1" noChangeAspect="1"/>
          </p:cNvSpPr>
          <p:nvPr>
            <p:ph type="pic" sz="quarter" idx="26" hasCustomPrompt="1"/>
          </p:nvPr>
        </p:nvSpPr>
        <p:spPr>
          <a:xfrm>
            <a:off x="1404637" y="3065472"/>
            <a:ext cx="1200000" cy="899999"/>
          </a:xfrm>
          <a:prstGeom prst="rect">
            <a:avLst/>
          </a:prstGeom>
        </p:spPr>
        <p:txBody>
          <a:bodyPr vert="horz"/>
          <a:lstStyle>
            <a:lvl1pPr marL="0" indent="0">
              <a:buFontTx/>
              <a:buNone/>
              <a:defRPr sz="1200">
                <a:latin typeface="Arial"/>
                <a:cs typeface="Arial"/>
              </a:defRPr>
            </a:lvl1pPr>
          </a:lstStyle>
          <a:p>
            <a:r>
              <a:rPr lang="de-DE" dirty="0"/>
              <a:t>Image 4</a:t>
            </a:r>
          </a:p>
        </p:txBody>
      </p:sp>
      <p:sp>
        <p:nvSpPr>
          <p:cNvPr id="27" name="Textplatzhalter 10"/>
          <p:cNvSpPr>
            <a:spLocks noGrp="1"/>
          </p:cNvSpPr>
          <p:nvPr>
            <p:ph type="body" sz="quarter" idx="27" hasCustomPrompt="1"/>
          </p:nvPr>
        </p:nvSpPr>
        <p:spPr>
          <a:xfrm>
            <a:off x="913960" y="3065463"/>
            <a:ext cx="480000" cy="900000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Tx/>
              <a:buNone/>
              <a:defRPr sz="2400">
                <a:solidFill>
                  <a:srgbClr val="00AEEF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4</a:t>
            </a:r>
          </a:p>
        </p:txBody>
      </p:sp>
      <p:sp>
        <p:nvSpPr>
          <p:cNvPr id="28" name="Textplatzhalter 10"/>
          <p:cNvSpPr>
            <a:spLocks noGrp="1"/>
          </p:cNvSpPr>
          <p:nvPr>
            <p:ph type="body" sz="quarter" idx="28" hasCustomPrompt="1"/>
          </p:nvPr>
        </p:nvSpPr>
        <p:spPr>
          <a:xfrm>
            <a:off x="913960" y="3975564"/>
            <a:ext cx="2400000" cy="1467991"/>
          </a:xfrm>
          <a:prstGeom prst="rect">
            <a:avLst/>
          </a:prstGeom>
        </p:spPr>
        <p:txBody>
          <a:bodyPr vert="horz" lIns="0" tIns="0" rIns="0" bIns="0" anchor="t"/>
          <a:lstStyle>
            <a:lvl1pPr marL="0" indent="0">
              <a:buFontTx/>
              <a:buNone/>
              <a:defRPr sz="1300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Text eingeben</a:t>
            </a:r>
          </a:p>
        </p:txBody>
      </p:sp>
      <p:sp>
        <p:nvSpPr>
          <p:cNvPr id="15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806468" y="523507"/>
            <a:ext cx="5287433" cy="314156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100" b="1" u="sng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 err="1"/>
              <a:t>aws</a:t>
            </a:r>
            <a:r>
              <a:rPr lang="de-DE" dirty="0"/>
              <a:t> Produkttitel</a:t>
            </a:r>
          </a:p>
        </p:txBody>
      </p:sp>
      <p:sp>
        <p:nvSpPr>
          <p:cNvPr id="16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814937" y="1444639"/>
            <a:ext cx="10515903" cy="1005247"/>
          </a:xfrm>
          <a:prstGeom prst="rect">
            <a:avLst/>
          </a:prstGeom>
        </p:spPr>
        <p:txBody>
          <a:bodyPr vert="horz" lIns="0" tIns="0" rIns="0" bIns="0" anchor="b"/>
          <a:lstStyle>
            <a:lvl1pPr marL="0" indent="0">
              <a:buFontTx/>
              <a:buNone/>
              <a:defRPr sz="2400" b="1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AT" dirty="0"/>
              <a:t>Mastertextformat bearbeiten</a:t>
            </a:r>
          </a:p>
        </p:txBody>
      </p:sp>
      <p:cxnSp>
        <p:nvCxnSpPr>
          <p:cNvPr id="18" name="Gerade Verbindung 17"/>
          <p:cNvCxnSpPr/>
          <p:nvPr userDrawn="1"/>
        </p:nvCxnSpPr>
        <p:spPr>
          <a:xfrm>
            <a:off x="814009" y="3949714"/>
            <a:ext cx="0" cy="2103291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lg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28"/>
          <p:cNvCxnSpPr/>
          <p:nvPr userDrawn="1"/>
        </p:nvCxnSpPr>
        <p:spPr>
          <a:xfrm flipH="1">
            <a:off x="806453" y="3965478"/>
            <a:ext cx="8467" cy="2062275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lg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29"/>
          <p:cNvCxnSpPr/>
          <p:nvPr userDrawn="1"/>
        </p:nvCxnSpPr>
        <p:spPr>
          <a:xfrm>
            <a:off x="3456517" y="3975564"/>
            <a:ext cx="0" cy="2052191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lg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30"/>
          <p:cNvCxnSpPr/>
          <p:nvPr userDrawn="1"/>
        </p:nvCxnSpPr>
        <p:spPr>
          <a:xfrm>
            <a:off x="6093884" y="3965463"/>
            <a:ext cx="0" cy="2062276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lg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2" name="Gerade Verbindung 31"/>
          <p:cNvCxnSpPr/>
          <p:nvPr userDrawn="1"/>
        </p:nvCxnSpPr>
        <p:spPr>
          <a:xfrm>
            <a:off x="8739717" y="3965477"/>
            <a:ext cx="0" cy="2062277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lg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265187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1000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8" dur="10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1000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1" dur="10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11" grpId="0" build="p">
        <p:tmplLst>
          <p:tmpl lvl="1"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7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10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0" grpId="0"/>
      <p:bldP spid="21" grpId="0" build="p">
        <p:tmplLst>
          <p:tmpl lvl="1"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10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/>
      <p:bldP spid="2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8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1000"/>
                        <p:tgtEl>
                          <p:spTgt spid="2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rgbClr val="02266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1" dirty="0"/>
          </a:p>
        </p:txBody>
      </p:sp>
      <p:sp>
        <p:nvSpPr>
          <p:cNvPr id="4" name="Textplatzhalter 35"/>
          <p:cNvSpPr txBox="1">
            <a:spLocks/>
          </p:cNvSpPr>
          <p:nvPr userDrawn="1"/>
        </p:nvSpPr>
        <p:spPr>
          <a:xfrm>
            <a:off x="817053" y="6491302"/>
            <a:ext cx="9680785" cy="224771"/>
          </a:xfrm>
          <a:prstGeom prst="rect">
            <a:avLst/>
          </a:prstGeom>
          <a:ln>
            <a:noFill/>
          </a:ln>
        </p:spPr>
        <p:txBody>
          <a:bodyPr vert="horz" lIns="0" tIns="0" rIns="0" bIns="0" anchor="t" anchorCtr="0"/>
          <a:lstStyle>
            <a:lvl1pPr marL="0" indent="0" algn="r" defTabSz="457200" rtl="0" eaLnBrk="1" latinLnBrk="0" hangingPunct="1">
              <a:spcBef>
                <a:spcPct val="20000"/>
              </a:spcBef>
              <a:buFont typeface="Arial"/>
              <a:buNone/>
              <a:defRPr sz="1000" kern="1200" baseline="0">
                <a:solidFill>
                  <a:srgbClr val="04174C"/>
                </a:solidFill>
                <a:latin typeface="Arial"/>
                <a:ea typeface="+mn-ea"/>
                <a:cs typeface="Arial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l" defTabSz="45715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de-AT" sz="900" dirty="0">
                <a:ln>
                  <a:noFill/>
                </a:ln>
                <a:solidFill>
                  <a:schemeClr val="bg1"/>
                </a:solidFill>
              </a:rPr>
              <a:t>Titel des Vortrags  |  Name de Vortragenden </a:t>
            </a:r>
            <a:r>
              <a:rPr lang="de-AT" sz="900" baseline="0" dirty="0">
                <a:ln>
                  <a:noFill/>
                </a:ln>
                <a:solidFill>
                  <a:schemeClr val="bg1"/>
                </a:solidFill>
              </a:rPr>
              <a:t> </a:t>
            </a:r>
            <a:r>
              <a:rPr lang="de-AT" sz="900" dirty="0">
                <a:ln>
                  <a:noFill/>
                </a:ln>
                <a:solidFill>
                  <a:schemeClr val="bg1"/>
                </a:solidFill>
              </a:rPr>
              <a:t>|  Seite </a:t>
            </a:r>
            <a:fld id="{58321080-53F8-5341-9F63-369F9D6D606E}" type="slidenum">
              <a:rPr lang="de-DE" sz="900" smtClean="0">
                <a:ln>
                  <a:noFill/>
                </a:ln>
                <a:solidFill>
                  <a:schemeClr val="bg1"/>
                </a:solidFill>
              </a:rPr>
              <a:pPr marL="0" marR="0" indent="0" algn="l" defTabSz="457154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t>‹Nr.›</a:t>
            </a:fld>
            <a:endParaRPr lang="de-DE" sz="900" dirty="0">
              <a:ln>
                <a:noFill/>
              </a:ln>
              <a:solidFill>
                <a:schemeClr val="bg1"/>
              </a:solidFill>
            </a:endParaRP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0" hasCustomPrompt="1"/>
          </p:nvPr>
        </p:nvSpPr>
        <p:spPr>
          <a:xfrm>
            <a:off x="2131613" y="1444642"/>
            <a:ext cx="6601755" cy="3508335"/>
          </a:xfrm>
          <a:prstGeom prst="rect">
            <a:avLst/>
          </a:prstGeom>
        </p:spPr>
        <p:txBody>
          <a:bodyPr vert="horz" lIns="0" tIns="0" rIns="0" bIns="0" anchor="b"/>
          <a:lstStyle>
            <a:lvl1pPr>
              <a:lnSpc>
                <a:spcPct val="110000"/>
              </a:lnSpc>
              <a:defRPr sz="2800">
                <a:solidFill>
                  <a:schemeClr val="bg1"/>
                </a:solidFill>
              </a:defRPr>
            </a:lvl1pPr>
          </a:lstStyle>
          <a:p>
            <a:pPr lvl="0"/>
            <a:r>
              <a:rPr lang="de-AT" dirty="0"/>
              <a:t>Platz für ein Zitat in Arial Regular 28 mit mehreren Zeilen</a:t>
            </a:r>
          </a:p>
          <a:p>
            <a:pPr lvl="0"/>
            <a:endParaRPr lang="de-AT" dirty="0"/>
          </a:p>
          <a:p>
            <a:pPr lvl="0"/>
            <a:r>
              <a:rPr lang="de-AT" dirty="0"/>
              <a:t>– Name</a:t>
            </a:r>
          </a:p>
        </p:txBody>
      </p:sp>
      <p:pic>
        <p:nvPicPr>
          <p:cNvPr id="5" name="Bild 4" descr="aws_gaensefuesschen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28477"/>
          <a:stretch/>
        </p:blipFill>
        <p:spPr>
          <a:xfrm>
            <a:off x="6006352" y="5055646"/>
            <a:ext cx="3360000" cy="18023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80244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7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2 Förderablauf Folgeseite - 2 Ite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4054704" y="3065472"/>
            <a:ext cx="1200000" cy="899999"/>
          </a:xfrm>
          <a:prstGeom prst="rect">
            <a:avLst/>
          </a:prstGeom>
        </p:spPr>
        <p:txBody>
          <a:bodyPr vert="horz"/>
          <a:lstStyle>
            <a:lvl1pPr marL="0" indent="0">
              <a:buFontTx/>
              <a:buNone/>
              <a:defRPr sz="1200">
                <a:latin typeface="Arial"/>
                <a:cs typeface="Arial"/>
              </a:defRPr>
            </a:lvl1pPr>
          </a:lstStyle>
          <a:p>
            <a:r>
              <a:rPr lang="de-DE" dirty="0"/>
              <a:t>Image 5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3564027" y="3065463"/>
            <a:ext cx="480000" cy="900000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Tx/>
              <a:buNone/>
              <a:defRPr sz="2400">
                <a:solidFill>
                  <a:srgbClr val="00AEEF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5</a:t>
            </a:r>
          </a:p>
        </p:txBody>
      </p:sp>
      <p:sp>
        <p:nvSpPr>
          <p:cNvPr id="17" name="Textplatzhalt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3564027" y="3975564"/>
            <a:ext cx="2400000" cy="1467991"/>
          </a:xfrm>
          <a:prstGeom prst="rect">
            <a:avLst/>
          </a:prstGeom>
        </p:spPr>
        <p:txBody>
          <a:bodyPr vert="horz" lIns="0" tIns="0" rIns="0" bIns="0" anchor="t"/>
          <a:lstStyle>
            <a:lvl1pPr marL="0" indent="0">
              <a:buFontTx/>
              <a:buNone/>
              <a:defRPr sz="1300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Text eingeben</a:t>
            </a:r>
          </a:p>
        </p:txBody>
      </p:sp>
      <p:sp>
        <p:nvSpPr>
          <p:cNvPr id="26" name="Bildplatzhalter 5"/>
          <p:cNvSpPr>
            <a:spLocks noGrp="1" noChangeAspect="1"/>
          </p:cNvSpPr>
          <p:nvPr>
            <p:ph type="pic" sz="quarter" idx="26" hasCustomPrompt="1"/>
          </p:nvPr>
        </p:nvSpPr>
        <p:spPr>
          <a:xfrm>
            <a:off x="1404637" y="3065472"/>
            <a:ext cx="1200000" cy="899999"/>
          </a:xfrm>
          <a:prstGeom prst="rect">
            <a:avLst/>
          </a:prstGeom>
        </p:spPr>
        <p:txBody>
          <a:bodyPr vert="horz"/>
          <a:lstStyle>
            <a:lvl1pPr marL="0" indent="0">
              <a:buFontTx/>
              <a:buNone/>
              <a:defRPr sz="1200">
                <a:latin typeface="Arial"/>
                <a:cs typeface="Arial"/>
              </a:defRPr>
            </a:lvl1pPr>
          </a:lstStyle>
          <a:p>
            <a:r>
              <a:rPr lang="de-DE" dirty="0"/>
              <a:t>Image 4</a:t>
            </a:r>
          </a:p>
        </p:txBody>
      </p:sp>
      <p:sp>
        <p:nvSpPr>
          <p:cNvPr id="27" name="Textplatzhalter 10"/>
          <p:cNvSpPr>
            <a:spLocks noGrp="1"/>
          </p:cNvSpPr>
          <p:nvPr>
            <p:ph type="body" sz="quarter" idx="27" hasCustomPrompt="1"/>
          </p:nvPr>
        </p:nvSpPr>
        <p:spPr>
          <a:xfrm>
            <a:off x="913960" y="3065463"/>
            <a:ext cx="480000" cy="900000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Tx/>
              <a:buNone/>
              <a:defRPr sz="2400">
                <a:solidFill>
                  <a:srgbClr val="00AEEF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4</a:t>
            </a:r>
          </a:p>
        </p:txBody>
      </p:sp>
      <p:sp>
        <p:nvSpPr>
          <p:cNvPr id="28" name="Textplatzhalter 10"/>
          <p:cNvSpPr>
            <a:spLocks noGrp="1"/>
          </p:cNvSpPr>
          <p:nvPr>
            <p:ph type="body" sz="quarter" idx="28" hasCustomPrompt="1"/>
          </p:nvPr>
        </p:nvSpPr>
        <p:spPr>
          <a:xfrm>
            <a:off x="913960" y="3975564"/>
            <a:ext cx="2400000" cy="1467991"/>
          </a:xfrm>
          <a:prstGeom prst="rect">
            <a:avLst/>
          </a:prstGeom>
        </p:spPr>
        <p:txBody>
          <a:bodyPr vert="horz" lIns="0" tIns="0" rIns="0" bIns="0" anchor="t"/>
          <a:lstStyle>
            <a:lvl1pPr marL="0" indent="0">
              <a:buFontTx/>
              <a:buNone/>
              <a:defRPr sz="1300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Text eingeben</a:t>
            </a:r>
          </a:p>
        </p:txBody>
      </p:sp>
      <p:sp>
        <p:nvSpPr>
          <p:cNvPr id="15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806468" y="523507"/>
            <a:ext cx="5287433" cy="314156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100" b="1" u="sng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 err="1"/>
              <a:t>aws</a:t>
            </a:r>
            <a:r>
              <a:rPr lang="de-DE" dirty="0"/>
              <a:t> Produkttitel</a:t>
            </a:r>
          </a:p>
        </p:txBody>
      </p:sp>
      <p:sp>
        <p:nvSpPr>
          <p:cNvPr id="16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814937" y="1444639"/>
            <a:ext cx="10515903" cy="1005247"/>
          </a:xfrm>
          <a:prstGeom prst="rect">
            <a:avLst/>
          </a:prstGeom>
        </p:spPr>
        <p:txBody>
          <a:bodyPr vert="horz" lIns="0" tIns="0" rIns="0" bIns="0" anchor="b"/>
          <a:lstStyle>
            <a:lvl1pPr marL="0" indent="0">
              <a:buFontTx/>
              <a:buNone/>
              <a:defRPr sz="2400" b="1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AT" dirty="0"/>
              <a:t>Mastertextformat bearbeiten</a:t>
            </a:r>
          </a:p>
        </p:txBody>
      </p:sp>
      <p:cxnSp>
        <p:nvCxnSpPr>
          <p:cNvPr id="18" name="Gerade Verbindung 17"/>
          <p:cNvCxnSpPr/>
          <p:nvPr userDrawn="1"/>
        </p:nvCxnSpPr>
        <p:spPr>
          <a:xfrm>
            <a:off x="814009" y="3949714"/>
            <a:ext cx="0" cy="2103291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lg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28"/>
          <p:cNvCxnSpPr/>
          <p:nvPr userDrawn="1"/>
        </p:nvCxnSpPr>
        <p:spPr>
          <a:xfrm flipH="1">
            <a:off x="806453" y="3965478"/>
            <a:ext cx="8467" cy="2062275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lgDash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Gerade Verbindung 29"/>
          <p:cNvCxnSpPr/>
          <p:nvPr userDrawn="1"/>
        </p:nvCxnSpPr>
        <p:spPr>
          <a:xfrm>
            <a:off x="3456517" y="3975564"/>
            <a:ext cx="0" cy="2052191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lg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1" name="Gerade Verbindung 30"/>
          <p:cNvCxnSpPr/>
          <p:nvPr userDrawn="1"/>
        </p:nvCxnSpPr>
        <p:spPr>
          <a:xfrm>
            <a:off x="6093884" y="3965463"/>
            <a:ext cx="0" cy="2062276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lgDash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064040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1000"/>
                                        <p:tgtEl>
                                          <p:spTgt spid="2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8" dur="10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11" grpId="0" build="p">
        <p:tmplLst>
          <p:tmpl lvl="1">
            <p:tnLst>
              <p:par>
                <p:cTn presetID="10" presetClass="entr" presetSubtype="0" fill="hold" nodeType="click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1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7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10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6" grpId="0"/>
      <p:bldP spid="2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2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8" grpId="0" build="p">
        <p:tmplLst>
          <p:tmpl lvl="1">
            <p:tnLst>
              <p:par>
                <p:cTn presetID="22" presetClass="entr" presetSubtype="8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wipe(left)">
                      <p:cBhvr>
                        <p:cTn dur="1000"/>
                        <p:tgtEl>
                          <p:spTgt spid="28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Leer für 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806468" y="523507"/>
            <a:ext cx="5287433" cy="314156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100" b="1" u="sng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 err="1"/>
              <a:t>aws</a:t>
            </a:r>
            <a:r>
              <a:rPr lang="de-DE" dirty="0"/>
              <a:t> Produkttitel</a:t>
            </a:r>
          </a:p>
        </p:txBody>
      </p:sp>
    </p:spTree>
    <p:extLst>
      <p:ext uri="{BB962C8B-B14F-4D97-AF65-F5344CB8AC3E}">
        <p14:creationId xmlns:p14="http://schemas.microsoft.com/office/powerpoint/2010/main" val="7967633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2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Leer mit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806468" y="523507"/>
            <a:ext cx="5287433" cy="314156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100" b="1" u="sng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 err="1"/>
              <a:t>aws</a:t>
            </a:r>
            <a:r>
              <a:rPr lang="de-DE" dirty="0"/>
              <a:t> Produkttitel</a:t>
            </a:r>
          </a:p>
        </p:txBody>
      </p:sp>
      <p:sp>
        <p:nvSpPr>
          <p:cNvPr id="4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814931" y="1444639"/>
            <a:ext cx="10564284" cy="1005247"/>
          </a:xfrm>
          <a:prstGeom prst="rect">
            <a:avLst/>
          </a:prstGeom>
        </p:spPr>
        <p:txBody>
          <a:bodyPr vert="horz" lIns="0" tIns="0" rIns="0" bIns="0" anchor="b"/>
          <a:lstStyle>
            <a:lvl1pPr marL="0" indent="0">
              <a:buFontTx/>
              <a:buNone/>
              <a:defRPr sz="2400" b="1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AT" dirty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97506712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1669054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verzeichn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6"/>
          <p:cNvSpPr>
            <a:spLocks noGrp="1"/>
          </p:cNvSpPr>
          <p:nvPr>
            <p:ph type="body" sz="quarter" idx="10" hasCustomPrompt="1"/>
          </p:nvPr>
        </p:nvSpPr>
        <p:spPr>
          <a:xfrm>
            <a:off x="817032" y="1444625"/>
            <a:ext cx="10562168" cy="4248000"/>
          </a:xfrm>
          <a:prstGeom prst="rect">
            <a:avLst/>
          </a:prstGeom>
        </p:spPr>
        <p:txBody>
          <a:bodyPr vert="horz" lIns="0" tIns="0" rIns="0" bIns="0" anchor="b"/>
          <a:lstStyle>
            <a:lvl1pPr marL="457154" marR="0" indent="-457154" algn="l" defTabSz="457154" rtl="0" eaLnBrk="1" fontAlgn="auto" latinLnBrk="0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Clr>
                <a:srgbClr val="00AEEF"/>
              </a:buClr>
              <a:buSzPct val="100000"/>
              <a:buFont typeface="Wingdings" charset="2"/>
              <a:buAutoNum type="arabicPlain"/>
              <a:tabLst/>
              <a:defRPr sz="2400" b="0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2pPr>
          </a:lstStyle>
          <a:p>
            <a:pPr lvl="0"/>
            <a:r>
              <a:rPr lang="de-AT" dirty="0"/>
              <a:t>Kapitel Nummer Arial </a:t>
            </a:r>
            <a:r>
              <a:rPr lang="de-AT" dirty="0" err="1"/>
              <a:t>Bold</a:t>
            </a:r>
            <a:r>
              <a:rPr lang="de-AT" dirty="0"/>
              <a:t> 24 </a:t>
            </a:r>
            <a:r>
              <a:rPr lang="de-AT" dirty="0" err="1"/>
              <a:t>pt</a:t>
            </a:r>
            <a:r>
              <a:rPr lang="de-AT" dirty="0"/>
              <a:t> dunkelblau</a:t>
            </a:r>
          </a:p>
          <a:p>
            <a:pPr lvl="1"/>
            <a:r>
              <a:rPr lang="de-AT" dirty="0" err="1"/>
              <a:t>asdf</a:t>
            </a:r>
            <a:endParaRPr lang="de-AT" dirty="0"/>
          </a:p>
          <a:p>
            <a:pPr lvl="0"/>
            <a:r>
              <a:rPr lang="de-AT" dirty="0"/>
              <a:t>Kapitel Nummer zwei</a:t>
            </a:r>
          </a:p>
          <a:p>
            <a:pPr lvl="0"/>
            <a:r>
              <a:rPr lang="de-AT" dirty="0"/>
              <a:t>Kapitel Nummer drei</a:t>
            </a:r>
          </a:p>
        </p:txBody>
      </p:sp>
    </p:spTree>
    <p:extLst>
      <p:ext uri="{BB962C8B-B14F-4D97-AF65-F5344CB8AC3E}">
        <p14:creationId xmlns:p14="http://schemas.microsoft.com/office/powerpoint/2010/main" val="362242380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1_Themenstartseite - Auflist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1984375" y="1444639"/>
            <a:ext cx="9373672" cy="1005247"/>
          </a:xfrm>
          <a:prstGeom prst="rect">
            <a:avLst/>
          </a:prstGeom>
        </p:spPr>
        <p:txBody>
          <a:bodyPr vert="horz" lIns="0" tIns="0" rIns="0" bIns="0" anchor="b"/>
          <a:lstStyle>
            <a:lvl1pPr marL="0" indent="0">
              <a:buFontTx/>
              <a:buNone/>
              <a:defRPr sz="2400" b="1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AT" dirty="0"/>
              <a:t>Mastertextformat bearbeiten</a:t>
            </a:r>
          </a:p>
        </p:txBody>
      </p:sp>
      <p:sp>
        <p:nvSpPr>
          <p:cNvPr id="9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806468" y="523507"/>
            <a:ext cx="5287433" cy="314156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100" b="1" u="sng" baseline="0">
                <a:solidFill>
                  <a:srgbClr val="00377A"/>
                </a:solidFill>
                <a:uFill>
                  <a:solidFill>
                    <a:srgbClr val="00377A"/>
                  </a:solidFill>
                </a:uFill>
                <a:latin typeface="Arial"/>
                <a:cs typeface="Arial"/>
              </a:defRPr>
            </a:lvl1pPr>
          </a:lstStyle>
          <a:p>
            <a:pPr lvl="0"/>
            <a:r>
              <a:rPr lang="de-DE" dirty="0" err="1"/>
              <a:t>aws</a:t>
            </a:r>
            <a:r>
              <a:rPr lang="de-DE" dirty="0"/>
              <a:t> Produkttitel</a:t>
            </a:r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1984375" y="2682875"/>
            <a:ext cx="9394825" cy="3420000"/>
          </a:xfrm>
          <a:prstGeom prst="rect">
            <a:avLst/>
          </a:prstGeom>
        </p:spPr>
        <p:txBody>
          <a:bodyPr vert="horz" lIns="0" tIns="0" rIns="0" bIns="0" numCol="1" spcCol="360000" anchor="t" anchorCtr="0"/>
          <a:lstStyle>
            <a:lvl1pPr marL="285722" marR="0" indent="-285722" algn="l" defTabSz="457154" rtl="0" eaLnBrk="1" fontAlgn="auto" latinLnBrk="0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Clr>
                <a:srgbClr val="00377A"/>
              </a:buClr>
              <a:buSzPct val="150000"/>
              <a:buFont typeface="Symbol" charset="2"/>
              <a:buChar char="-"/>
              <a:tabLst/>
              <a:defRPr sz="1801" b="1" i="0" baseline="0">
                <a:solidFill>
                  <a:srgbClr val="00377A"/>
                </a:solidFill>
                <a:latin typeface="Arial"/>
                <a:cs typeface="Arial"/>
              </a:defRPr>
            </a:lvl1pPr>
            <a:lvl2pPr marL="742876" indent="-285722">
              <a:buClr>
                <a:srgbClr val="00377A"/>
              </a:buClr>
              <a:buSzPct val="150000"/>
              <a:buFont typeface="Symbol" charset="2"/>
              <a:buChar char="-"/>
              <a:defRPr sz="1801" baseline="0">
                <a:solidFill>
                  <a:srgbClr val="00377A"/>
                </a:solidFill>
                <a:latin typeface="Arial" charset="0"/>
              </a:defRPr>
            </a:lvl2pPr>
            <a:lvl3pPr marL="1142887" indent="-228578">
              <a:buFont typeface="Symbol" charset="2"/>
              <a:buChar char="-"/>
              <a:defRPr sz="1801" baseline="0">
                <a:solidFill>
                  <a:srgbClr val="00377A"/>
                </a:solidFill>
                <a:latin typeface="Arial" charset="0"/>
              </a:defRPr>
            </a:lvl3pPr>
            <a:lvl4pPr marL="1600041" indent="-228578">
              <a:buClr>
                <a:srgbClr val="00377A"/>
              </a:buClr>
              <a:buFont typeface="Symbol" charset="2"/>
              <a:buChar char="-"/>
              <a:defRPr sz="1801" baseline="0">
                <a:solidFill>
                  <a:srgbClr val="00377A"/>
                </a:solidFill>
                <a:latin typeface="Arial" charset="0"/>
              </a:defRPr>
            </a:lvl4pPr>
            <a:lvl5pPr marL="2057195" indent="-228578">
              <a:buFont typeface="Arial" charset="0"/>
              <a:buChar char="•"/>
              <a:defRPr sz="1300" baseline="0">
                <a:solidFill>
                  <a:srgbClr val="00377A"/>
                </a:solidFill>
                <a:latin typeface="Arial" charset="0"/>
              </a:defRPr>
            </a:lvl5pPr>
          </a:lstStyle>
          <a:p>
            <a:pPr lvl="0"/>
            <a:r>
              <a:rPr lang="de-AT" dirty="0"/>
              <a:t>Mastertextformat bearbeiten</a:t>
            </a:r>
          </a:p>
          <a:p>
            <a:pPr lvl="1"/>
            <a:r>
              <a:rPr lang="de-AT" dirty="0"/>
              <a:t>Ebene 2</a:t>
            </a:r>
          </a:p>
          <a:p>
            <a:pPr lvl="2"/>
            <a:r>
              <a:rPr lang="de-AT" dirty="0"/>
              <a:t>Ebene 3</a:t>
            </a:r>
          </a:p>
          <a:p>
            <a:pPr lvl="3"/>
            <a:r>
              <a:rPr lang="de-AT" dirty="0"/>
              <a:t>Ebene 4</a:t>
            </a:r>
          </a:p>
        </p:txBody>
      </p:sp>
      <p:pic>
        <p:nvPicPr>
          <p:cNvPr id="10" name="Bild 2" descr="pfeil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755"/>
          <a:stretch/>
        </p:blipFill>
        <p:spPr>
          <a:xfrm>
            <a:off x="-1" y="2277047"/>
            <a:ext cx="1833283" cy="2313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95286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91" userDrawn="1">
          <p15:clr>
            <a:srgbClr val="FBAE40"/>
          </p15:clr>
        </p15:guide>
        <p15:guide id="2" pos="1675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2_Themenstartseite alternativ animie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1984375" y="1444639"/>
            <a:ext cx="9392709" cy="1005247"/>
          </a:xfrm>
          <a:prstGeom prst="rect">
            <a:avLst/>
          </a:prstGeom>
        </p:spPr>
        <p:txBody>
          <a:bodyPr vert="horz" lIns="0" tIns="0" rIns="0" bIns="0" anchor="b"/>
          <a:lstStyle>
            <a:lvl1pPr marL="0" indent="0">
              <a:buFontTx/>
              <a:buNone/>
              <a:defRPr sz="2400" b="1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de-AT" dirty="0"/>
              <a:t>Mastertextformat bearbeiten</a:t>
            </a:r>
          </a:p>
        </p:txBody>
      </p:sp>
      <p:sp>
        <p:nvSpPr>
          <p:cNvPr id="6" name="Textplatzhalter 4"/>
          <p:cNvSpPr>
            <a:spLocks noGrp="1"/>
          </p:cNvSpPr>
          <p:nvPr>
            <p:ph type="body" sz="quarter" idx="11"/>
          </p:nvPr>
        </p:nvSpPr>
        <p:spPr>
          <a:xfrm>
            <a:off x="1984375" y="2687484"/>
            <a:ext cx="9392709" cy="3420000"/>
          </a:xfrm>
          <a:prstGeom prst="rect">
            <a:avLst/>
          </a:prstGeom>
        </p:spPr>
        <p:txBody>
          <a:bodyPr vert="horz" lIns="0" tIns="0" rIns="0" bIns="0" anchor="t"/>
          <a:lstStyle>
            <a:lvl1pPr marL="0" indent="0">
              <a:buFontTx/>
              <a:buNone/>
              <a:defRPr sz="2000">
                <a:solidFill>
                  <a:srgbClr val="00AEEF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AT" dirty="0"/>
              <a:t>Mastertextformat bearbeiten</a:t>
            </a:r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806468" y="523507"/>
            <a:ext cx="5287433" cy="314156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100" b="1" u="sng" baseline="0">
                <a:solidFill>
                  <a:srgbClr val="00377A"/>
                </a:solidFill>
                <a:uFill>
                  <a:solidFill>
                    <a:srgbClr val="00377A"/>
                  </a:solidFill>
                </a:uFill>
                <a:latin typeface="Arial"/>
                <a:cs typeface="Arial"/>
              </a:defRPr>
            </a:lvl1pPr>
          </a:lstStyle>
          <a:p>
            <a:pPr lvl="0"/>
            <a:r>
              <a:rPr lang="de-DE" dirty="0" err="1"/>
              <a:t>aws</a:t>
            </a:r>
            <a:r>
              <a:rPr lang="de-DE" dirty="0"/>
              <a:t> Produkttitel</a:t>
            </a:r>
          </a:p>
        </p:txBody>
      </p:sp>
      <p:pic>
        <p:nvPicPr>
          <p:cNvPr id="7" name="Bild 2" descr="pfeil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755"/>
          <a:stretch/>
        </p:blipFill>
        <p:spPr>
          <a:xfrm>
            <a:off x="-1" y="2277047"/>
            <a:ext cx="1833283" cy="2313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712036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3_Themenfortsetzu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806452" y="1444639"/>
            <a:ext cx="10551581" cy="1005247"/>
          </a:xfrm>
          <a:prstGeom prst="rect">
            <a:avLst/>
          </a:prstGeom>
        </p:spPr>
        <p:txBody>
          <a:bodyPr vert="horz" lIns="0" tIns="0" rIns="0" bIns="0" anchor="b"/>
          <a:lstStyle>
            <a:lvl1pPr marL="0" indent="0">
              <a:buFontTx/>
              <a:buNone/>
              <a:defRPr sz="2400" b="1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AT" dirty="0"/>
              <a:t>Mastertextformat bearbeiten</a:t>
            </a:r>
          </a:p>
        </p:txBody>
      </p:sp>
      <p:sp>
        <p:nvSpPr>
          <p:cNvPr id="9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806468" y="523507"/>
            <a:ext cx="5287433" cy="314156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100" b="1" u="sng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 err="1"/>
              <a:t>aws</a:t>
            </a:r>
            <a:r>
              <a:rPr lang="de-DE" dirty="0"/>
              <a:t> Produkttitel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817032" y="2682875"/>
            <a:ext cx="10562168" cy="3420000"/>
          </a:xfrm>
          <a:prstGeom prst="rect">
            <a:avLst/>
          </a:prstGeom>
        </p:spPr>
        <p:txBody>
          <a:bodyPr vert="horz" lIns="0" tIns="0" rIns="0" bIns="0" numCol="1" spcCol="360000" anchor="t" anchorCtr="0"/>
          <a:lstStyle>
            <a:lvl1pPr marL="285722" marR="0" indent="-285722" algn="l" defTabSz="457154" rtl="0" eaLnBrk="1" fontAlgn="auto" latinLnBrk="0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Clr>
                <a:srgbClr val="00377A"/>
              </a:buClr>
              <a:buSzPct val="150000"/>
              <a:buFont typeface="Symbol" charset="2"/>
              <a:buChar char="-"/>
              <a:tabLst/>
              <a:defRPr sz="1801" b="1" i="0" baseline="0">
                <a:solidFill>
                  <a:srgbClr val="00377A"/>
                </a:solidFill>
                <a:latin typeface="Arial"/>
                <a:cs typeface="Arial"/>
              </a:defRPr>
            </a:lvl1pPr>
            <a:lvl2pPr marL="742876" indent="-285722">
              <a:buClr>
                <a:srgbClr val="00377A"/>
              </a:buClr>
              <a:buSzPct val="150000"/>
              <a:buFont typeface="Symbol" charset="2"/>
              <a:buChar char="-"/>
              <a:defRPr sz="1801" baseline="0">
                <a:solidFill>
                  <a:srgbClr val="00377A"/>
                </a:solidFill>
                <a:latin typeface="Arial" charset="0"/>
              </a:defRPr>
            </a:lvl2pPr>
            <a:lvl3pPr marL="1142887" indent="-228578">
              <a:buFont typeface="Symbol" charset="2"/>
              <a:buChar char="-"/>
              <a:defRPr sz="1801" baseline="0">
                <a:solidFill>
                  <a:srgbClr val="00377A"/>
                </a:solidFill>
                <a:latin typeface="Arial" charset="0"/>
              </a:defRPr>
            </a:lvl3pPr>
            <a:lvl4pPr marL="1600041" indent="-228578">
              <a:buClr>
                <a:srgbClr val="00377A"/>
              </a:buClr>
              <a:buFont typeface="Symbol" charset="2"/>
              <a:buChar char="-"/>
              <a:defRPr sz="1801" baseline="0">
                <a:solidFill>
                  <a:srgbClr val="00377A"/>
                </a:solidFill>
                <a:latin typeface="Arial" charset="0"/>
              </a:defRPr>
            </a:lvl4pPr>
            <a:lvl5pPr marL="2057195" indent="-228578">
              <a:buFont typeface="Arial" charset="0"/>
              <a:buChar char="•"/>
              <a:defRPr sz="1300" baseline="0">
                <a:solidFill>
                  <a:srgbClr val="00377A"/>
                </a:solidFill>
                <a:latin typeface="Arial" charset="0"/>
              </a:defRPr>
            </a:lvl5pPr>
          </a:lstStyle>
          <a:p>
            <a:pPr lvl="0"/>
            <a:r>
              <a:rPr lang="de-AT" dirty="0"/>
              <a:t>Mastertextformat bearbeiten</a:t>
            </a:r>
          </a:p>
          <a:p>
            <a:pPr lvl="1"/>
            <a:r>
              <a:rPr lang="de-AT" dirty="0"/>
              <a:t>Ebene 2</a:t>
            </a:r>
          </a:p>
          <a:p>
            <a:pPr lvl="2"/>
            <a:r>
              <a:rPr lang="de-AT" dirty="0"/>
              <a:t>Ebene 3</a:t>
            </a:r>
          </a:p>
          <a:p>
            <a:pPr lvl="3"/>
            <a:r>
              <a:rPr lang="de-AT" dirty="0"/>
              <a:t>Ebene 4</a:t>
            </a:r>
          </a:p>
        </p:txBody>
      </p:sp>
      <p:sp>
        <p:nvSpPr>
          <p:cNvPr id="8" name="Textfeld 7">
            <a:extLst>
              <a:ext uri="{FF2B5EF4-FFF2-40B4-BE49-F238E27FC236}">
                <a16:creationId xmlns:a16="http://schemas.microsoft.com/office/drawing/2014/main" id="{0681E09C-284E-4667-A955-D6C9C2C8CF39}"/>
              </a:ext>
            </a:extLst>
          </p:cNvPr>
          <p:cNvSpPr txBox="1"/>
          <p:nvPr userDrawn="1"/>
        </p:nvSpPr>
        <p:spPr>
          <a:xfrm>
            <a:off x="716692" y="6376086"/>
            <a:ext cx="2010032" cy="39541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615036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unktation und 2 Spal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1984376" y="1444639"/>
            <a:ext cx="9394826" cy="1005247"/>
          </a:xfrm>
          <a:prstGeom prst="rect">
            <a:avLst/>
          </a:prstGeom>
        </p:spPr>
        <p:txBody>
          <a:bodyPr vert="horz" lIns="0" tIns="0" rIns="0" bIns="0" anchor="b"/>
          <a:lstStyle>
            <a:lvl1pPr marL="0" indent="0">
              <a:buFontTx/>
              <a:buNone/>
              <a:defRPr sz="2400" b="1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AT" dirty="0"/>
              <a:t>Mastertextformat bearbeiten</a:t>
            </a:r>
          </a:p>
        </p:txBody>
      </p:sp>
      <p:sp>
        <p:nvSpPr>
          <p:cNvPr id="6" name="Textplatzhalter 4"/>
          <p:cNvSpPr>
            <a:spLocks noGrp="1"/>
          </p:cNvSpPr>
          <p:nvPr>
            <p:ph type="body" sz="quarter" idx="11" hasCustomPrompt="1"/>
          </p:nvPr>
        </p:nvSpPr>
        <p:spPr>
          <a:xfrm>
            <a:off x="1990225" y="2687489"/>
            <a:ext cx="4500000" cy="2756053"/>
          </a:xfrm>
          <a:prstGeom prst="rect">
            <a:avLst/>
          </a:prstGeom>
        </p:spPr>
        <p:txBody>
          <a:bodyPr vert="horz" lIns="0" tIns="0" rIns="0" bIns="0" anchor="t"/>
          <a:lstStyle>
            <a:lvl1pPr marL="171434" indent="-171434">
              <a:buFont typeface="Symbol" charset="2"/>
              <a:buChar char="-"/>
              <a:defRPr sz="1401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AT" dirty="0"/>
              <a:t>Aufzählungen</a:t>
            </a:r>
          </a:p>
          <a:p>
            <a:pPr lvl="0"/>
            <a:r>
              <a:rPr lang="de-AT" dirty="0"/>
              <a:t>Text bearbeiten</a:t>
            </a:r>
          </a:p>
        </p:txBody>
      </p:sp>
      <p:sp>
        <p:nvSpPr>
          <p:cNvPr id="7" name="Tabellenplatzhalter 6"/>
          <p:cNvSpPr>
            <a:spLocks noGrp="1"/>
          </p:cNvSpPr>
          <p:nvPr>
            <p:ph type="tbl" sz="quarter" idx="12" hasCustomPrompt="1"/>
          </p:nvPr>
        </p:nvSpPr>
        <p:spPr>
          <a:xfrm>
            <a:off x="6874631" y="2687498"/>
            <a:ext cx="4500000" cy="1412803"/>
          </a:xfrm>
          <a:prstGeom prst="rect">
            <a:avLst/>
          </a:prstGeom>
        </p:spPr>
        <p:txBody>
          <a:bodyPr vert="horz"/>
          <a:lstStyle>
            <a:lvl1pPr marL="0" indent="0">
              <a:buFontTx/>
              <a:buNone/>
              <a:defRPr sz="1200">
                <a:latin typeface="Arial"/>
                <a:cs typeface="Arial"/>
              </a:defRPr>
            </a:lvl1pPr>
          </a:lstStyle>
          <a:p>
            <a:r>
              <a:rPr lang="de-DE" dirty="0"/>
              <a:t>Tabelle 2 Spalten einfügen</a:t>
            </a:r>
          </a:p>
        </p:txBody>
      </p:sp>
      <p:sp>
        <p:nvSpPr>
          <p:cNvPr id="9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806468" y="549635"/>
            <a:ext cx="5287433" cy="314156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100" b="1" u="sng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 err="1"/>
              <a:t>aws</a:t>
            </a:r>
            <a:r>
              <a:rPr lang="de-DE" dirty="0"/>
              <a:t> Produkttitel</a:t>
            </a:r>
          </a:p>
        </p:txBody>
      </p:sp>
      <p:pic>
        <p:nvPicPr>
          <p:cNvPr id="8" name="Bild 2" descr="pfeil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755"/>
          <a:stretch/>
        </p:blipFill>
        <p:spPr>
          <a:xfrm>
            <a:off x="-1" y="2277047"/>
            <a:ext cx="1833283" cy="2313432"/>
          </a:xfrm>
          <a:prstGeom prst="rect">
            <a:avLst/>
          </a:prstGeom>
        </p:spPr>
      </p:pic>
      <p:sp>
        <p:nvSpPr>
          <p:cNvPr id="2" name="Textfeld 1">
            <a:extLst>
              <a:ext uri="{FF2B5EF4-FFF2-40B4-BE49-F238E27FC236}">
                <a16:creationId xmlns:a16="http://schemas.microsoft.com/office/drawing/2014/main" id="{0D7BEFCD-8CC9-4E04-A510-3930FF5200BC}"/>
              </a:ext>
            </a:extLst>
          </p:cNvPr>
          <p:cNvSpPr txBox="1"/>
          <p:nvPr userDrawn="1"/>
        </p:nvSpPr>
        <p:spPr>
          <a:xfrm>
            <a:off x="716692" y="6376086"/>
            <a:ext cx="2010032" cy="39541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64941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806468" y="523507"/>
            <a:ext cx="5287433" cy="314156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100" b="1" u="sng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/>
              <a:t>Team</a:t>
            </a:r>
          </a:p>
        </p:txBody>
      </p:sp>
      <p:sp>
        <p:nvSpPr>
          <p:cNvPr id="18" name="Textplatzhalter 4"/>
          <p:cNvSpPr>
            <a:spLocks noGrp="1"/>
          </p:cNvSpPr>
          <p:nvPr>
            <p:ph type="body" sz="quarter" idx="11"/>
          </p:nvPr>
        </p:nvSpPr>
        <p:spPr>
          <a:xfrm>
            <a:off x="2403192" y="1595537"/>
            <a:ext cx="3394935" cy="1153683"/>
          </a:xfrm>
          <a:prstGeom prst="rect">
            <a:avLst/>
          </a:prstGeom>
        </p:spPr>
        <p:txBody>
          <a:bodyPr vert="horz"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00" b="0" baseline="0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endParaRPr lang="de-AT" dirty="0"/>
          </a:p>
        </p:txBody>
      </p:sp>
      <p:sp>
        <p:nvSpPr>
          <p:cNvPr id="19" name="Ellipse 18"/>
          <p:cNvSpPr/>
          <p:nvPr userDrawn="1"/>
        </p:nvSpPr>
        <p:spPr>
          <a:xfrm>
            <a:off x="845345" y="1475610"/>
            <a:ext cx="1427148" cy="1427148"/>
          </a:xfrm>
          <a:prstGeom prst="ellipse">
            <a:avLst/>
          </a:prstGeom>
          <a:noFill/>
          <a:ln w="57150" cmpd="dbl">
            <a:solidFill>
              <a:srgbClr val="0099FF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AT">
              <a:effectLst/>
            </a:endParaRPr>
          </a:p>
        </p:txBody>
      </p:sp>
      <p:sp>
        <p:nvSpPr>
          <p:cNvPr id="20" name="Bildplatzhalter 6"/>
          <p:cNvSpPr>
            <a:spLocks noGrp="1"/>
          </p:cNvSpPr>
          <p:nvPr>
            <p:ph type="pic" sz="quarter" idx="24"/>
          </p:nvPr>
        </p:nvSpPr>
        <p:spPr>
          <a:xfrm>
            <a:off x="882270" y="1512931"/>
            <a:ext cx="1350386" cy="1350392"/>
          </a:xfrm>
          <a:custGeom>
            <a:avLst/>
            <a:gdLst>
              <a:gd name="connsiteX0" fmla="*/ 0 w 1370013"/>
              <a:gd name="connsiteY0" fmla="*/ 0 h 1355725"/>
              <a:gd name="connsiteX1" fmla="*/ 1370013 w 1370013"/>
              <a:gd name="connsiteY1" fmla="*/ 0 h 1355725"/>
              <a:gd name="connsiteX2" fmla="*/ 1370013 w 1370013"/>
              <a:gd name="connsiteY2" fmla="*/ 1355725 h 1355725"/>
              <a:gd name="connsiteX3" fmla="*/ 0 w 1370013"/>
              <a:gd name="connsiteY3" fmla="*/ 1355725 h 1355725"/>
              <a:gd name="connsiteX4" fmla="*/ 0 w 1370013"/>
              <a:gd name="connsiteY4" fmla="*/ 0 h 1355725"/>
              <a:gd name="connsiteX0" fmla="*/ 0 w 1370013"/>
              <a:gd name="connsiteY0" fmla="*/ 0 h 1355725"/>
              <a:gd name="connsiteX1" fmla="*/ 1365250 w 1370013"/>
              <a:gd name="connsiteY1" fmla="*/ 723900 h 1355725"/>
              <a:gd name="connsiteX2" fmla="*/ 1370013 w 1370013"/>
              <a:gd name="connsiteY2" fmla="*/ 1355725 h 1355725"/>
              <a:gd name="connsiteX3" fmla="*/ 0 w 1370013"/>
              <a:gd name="connsiteY3" fmla="*/ 1355725 h 1355725"/>
              <a:gd name="connsiteX4" fmla="*/ 0 w 1370013"/>
              <a:gd name="connsiteY4" fmla="*/ 0 h 1355725"/>
              <a:gd name="connsiteX0" fmla="*/ 4763 w 1370013"/>
              <a:gd name="connsiteY0" fmla="*/ 0 h 641350"/>
              <a:gd name="connsiteX1" fmla="*/ 1365250 w 1370013"/>
              <a:gd name="connsiteY1" fmla="*/ 9525 h 641350"/>
              <a:gd name="connsiteX2" fmla="*/ 1370013 w 1370013"/>
              <a:gd name="connsiteY2" fmla="*/ 641350 h 641350"/>
              <a:gd name="connsiteX3" fmla="*/ 0 w 1370013"/>
              <a:gd name="connsiteY3" fmla="*/ 641350 h 641350"/>
              <a:gd name="connsiteX4" fmla="*/ 4763 w 1370013"/>
              <a:gd name="connsiteY4" fmla="*/ 0 h 641350"/>
              <a:gd name="connsiteX0" fmla="*/ 4763 w 1370013"/>
              <a:gd name="connsiteY0" fmla="*/ 595847 h 1237197"/>
              <a:gd name="connsiteX1" fmla="*/ 1365250 w 1370013"/>
              <a:gd name="connsiteY1" fmla="*/ 605372 h 1237197"/>
              <a:gd name="connsiteX2" fmla="*/ 1370013 w 1370013"/>
              <a:gd name="connsiteY2" fmla="*/ 1237197 h 1237197"/>
              <a:gd name="connsiteX3" fmla="*/ 0 w 1370013"/>
              <a:gd name="connsiteY3" fmla="*/ 1237197 h 1237197"/>
              <a:gd name="connsiteX4" fmla="*/ 4763 w 1370013"/>
              <a:gd name="connsiteY4" fmla="*/ 595847 h 1237197"/>
              <a:gd name="connsiteX0" fmla="*/ 4763 w 1370013"/>
              <a:gd name="connsiteY0" fmla="*/ 764647 h 1405997"/>
              <a:gd name="connsiteX1" fmla="*/ 1365250 w 1370013"/>
              <a:gd name="connsiteY1" fmla="*/ 774172 h 1405997"/>
              <a:gd name="connsiteX2" fmla="*/ 1370013 w 1370013"/>
              <a:gd name="connsiteY2" fmla="*/ 1405997 h 1405997"/>
              <a:gd name="connsiteX3" fmla="*/ 0 w 1370013"/>
              <a:gd name="connsiteY3" fmla="*/ 1405997 h 1405997"/>
              <a:gd name="connsiteX4" fmla="*/ 4763 w 1370013"/>
              <a:gd name="connsiteY4" fmla="*/ 764647 h 1405997"/>
              <a:gd name="connsiteX0" fmla="*/ 4763 w 1370013"/>
              <a:gd name="connsiteY0" fmla="*/ 716251 h 1357601"/>
              <a:gd name="connsiteX1" fmla="*/ 1365250 w 1370013"/>
              <a:gd name="connsiteY1" fmla="*/ 725776 h 1357601"/>
              <a:gd name="connsiteX2" fmla="*/ 1370013 w 1370013"/>
              <a:gd name="connsiteY2" fmla="*/ 1357601 h 1357601"/>
              <a:gd name="connsiteX3" fmla="*/ 0 w 1370013"/>
              <a:gd name="connsiteY3" fmla="*/ 1357601 h 1357601"/>
              <a:gd name="connsiteX4" fmla="*/ 4763 w 1370013"/>
              <a:gd name="connsiteY4" fmla="*/ 716251 h 1357601"/>
              <a:gd name="connsiteX0" fmla="*/ 211 w 1374986"/>
              <a:gd name="connsiteY0" fmla="*/ 716251 h 1357601"/>
              <a:gd name="connsiteX1" fmla="*/ 1370223 w 1374986"/>
              <a:gd name="connsiteY1" fmla="*/ 725776 h 1357601"/>
              <a:gd name="connsiteX2" fmla="*/ 1374986 w 1374986"/>
              <a:gd name="connsiteY2" fmla="*/ 1357601 h 1357601"/>
              <a:gd name="connsiteX3" fmla="*/ 4973 w 1374986"/>
              <a:gd name="connsiteY3" fmla="*/ 1357601 h 1357601"/>
              <a:gd name="connsiteX4" fmla="*/ 211 w 1374986"/>
              <a:gd name="connsiteY4" fmla="*/ 716251 h 1357601"/>
              <a:gd name="connsiteX0" fmla="*/ 0 w 1374775"/>
              <a:gd name="connsiteY0" fmla="*/ 716251 h 1357601"/>
              <a:gd name="connsiteX1" fmla="*/ 1370012 w 1374775"/>
              <a:gd name="connsiteY1" fmla="*/ 725776 h 1357601"/>
              <a:gd name="connsiteX2" fmla="*/ 1374775 w 1374775"/>
              <a:gd name="connsiteY2" fmla="*/ 1357601 h 1357601"/>
              <a:gd name="connsiteX3" fmla="*/ 4762 w 1374775"/>
              <a:gd name="connsiteY3" fmla="*/ 1357601 h 1357601"/>
              <a:gd name="connsiteX4" fmla="*/ 0 w 1374775"/>
              <a:gd name="connsiteY4" fmla="*/ 716251 h 1357601"/>
              <a:gd name="connsiteX0" fmla="*/ 0 w 1374775"/>
              <a:gd name="connsiteY0" fmla="*/ 686229 h 1327579"/>
              <a:gd name="connsiteX1" fmla="*/ 1370012 w 1374775"/>
              <a:gd name="connsiteY1" fmla="*/ 695754 h 1327579"/>
              <a:gd name="connsiteX2" fmla="*/ 1374775 w 1374775"/>
              <a:gd name="connsiteY2" fmla="*/ 1327579 h 1327579"/>
              <a:gd name="connsiteX3" fmla="*/ 4762 w 1374775"/>
              <a:gd name="connsiteY3" fmla="*/ 1327579 h 1327579"/>
              <a:gd name="connsiteX4" fmla="*/ 0 w 1374775"/>
              <a:gd name="connsiteY4" fmla="*/ 686229 h 1327579"/>
              <a:gd name="connsiteX0" fmla="*/ 0 w 1375266"/>
              <a:gd name="connsiteY0" fmla="*/ 707643 h 1348993"/>
              <a:gd name="connsiteX1" fmla="*/ 1370012 w 1375266"/>
              <a:gd name="connsiteY1" fmla="*/ 717168 h 1348993"/>
              <a:gd name="connsiteX2" fmla="*/ 1374775 w 1375266"/>
              <a:gd name="connsiteY2" fmla="*/ 1348993 h 1348993"/>
              <a:gd name="connsiteX3" fmla="*/ 4762 w 1375266"/>
              <a:gd name="connsiteY3" fmla="*/ 1348993 h 1348993"/>
              <a:gd name="connsiteX4" fmla="*/ 0 w 1375266"/>
              <a:gd name="connsiteY4" fmla="*/ 707643 h 1348993"/>
              <a:gd name="connsiteX0" fmla="*/ 0 w 1375506"/>
              <a:gd name="connsiteY0" fmla="*/ 713559 h 1354909"/>
              <a:gd name="connsiteX1" fmla="*/ 1370012 w 1375506"/>
              <a:gd name="connsiteY1" fmla="*/ 723084 h 1354909"/>
              <a:gd name="connsiteX2" fmla="*/ 1374775 w 1375506"/>
              <a:gd name="connsiteY2" fmla="*/ 1354909 h 1354909"/>
              <a:gd name="connsiteX3" fmla="*/ 4762 w 1375506"/>
              <a:gd name="connsiteY3" fmla="*/ 1354909 h 1354909"/>
              <a:gd name="connsiteX4" fmla="*/ 0 w 1375506"/>
              <a:gd name="connsiteY4" fmla="*/ 713559 h 1354909"/>
              <a:gd name="connsiteX0" fmla="*/ 0 w 1375468"/>
              <a:gd name="connsiteY0" fmla="*/ 697806 h 1339156"/>
              <a:gd name="connsiteX1" fmla="*/ 1370012 w 1375468"/>
              <a:gd name="connsiteY1" fmla="*/ 707331 h 1339156"/>
              <a:gd name="connsiteX2" fmla="*/ 1374775 w 1375468"/>
              <a:gd name="connsiteY2" fmla="*/ 1339156 h 1339156"/>
              <a:gd name="connsiteX3" fmla="*/ 4762 w 1375468"/>
              <a:gd name="connsiteY3" fmla="*/ 1339156 h 1339156"/>
              <a:gd name="connsiteX4" fmla="*/ 0 w 1375468"/>
              <a:gd name="connsiteY4" fmla="*/ 697806 h 1339156"/>
              <a:gd name="connsiteX0" fmla="*/ 0 w 1375430"/>
              <a:gd name="connsiteY0" fmla="*/ 705673 h 1347023"/>
              <a:gd name="connsiteX1" fmla="*/ 1370012 w 1375430"/>
              <a:gd name="connsiteY1" fmla="*/ 715198 h 1347023"/>
              <a:gd name="connsiteX2" fmla="*/ 1374775 w 1375430"/>
              <a:gd name="connsiteY2" fmla="*/ 1347023 h 1347023"/>
              <a:gd name="connsiteX3" fmla="*/ 4762 w 1375430"/>
              <a:gd name="connsiteY3" fmla="*/ 1347023 h 1347023"/>
              <a:gd name="connsiteX4" fmla="*/ 0 w 1375430"/>
              <a:gd name="connsiteY4" fmla="*/ 705673 h 1347023"/>
              <a:gd name="connsiteX0" fmla="*/ 0 w 1375929"/>
              <a:gd name="connsiteY0" fmla="*/ 701030 h 1342380"/>
              <a:gd name="connsiteX1" fmla="*/ 1370012 w 1375929"/>
              <a:gd name="connsiteY1" fmla="*/ 710555 h 1342380"/>
              <a:gd name="connsiteX2" fmla="*/ 1374775 w 1375929"/>
              <a:gd name="connsiteY2" fmla="*/ 1342380 h 1342380"/>
              <a:gd name="connsiteX3" fmla="*/ 4762 w 1375929"/>
              <a:gd name="connsiteY3" fmla="*/ 1342380 h 1342380"/>
              <a:gd name="connsiteX4" fmla="*/ 0 w 1375929"/>
              <a:gd name="connsiteY4" fmla="*/ 701030 h 1342380"/>
              <a:gd name="connsiteX0" fmla="*/ 0 w 1376120"/>
              <a:gd name="connsiteY0" fmla="*/ 701030 h 1342380"/>
              <a:gd name="connsiteX1" fmla="*/ 1370012 w 1376120"/>
              <a:gd name="connsiteY1" fmla="*/ 710555 h 1342380"/>
              <a:gd name="connsiteX2" fmla="*/ 1374775 w 1376120"/>
              <a:gd name="connsiteY2" fmla="*/ 1342380 h 1342380"/>
              <a:gd name="connsiteX3" fmla="*/ 4762 w 1376120"/>
              <a:gd name="connsiteY3" fmla="*/ 1342380 h 1342380"/>
              <a:gd name="connsiteX4" fmla="*/ 0 w 1376120"/>
              <a:gd name="connsiteY4" fmla="*/ 701030 h 1342380"/>
              <a:gd name="connsiteX0" fmla="*/ 0 w 1376120"/>
              <a:gd name="connsiteY0" fmla="*/ 701030 h 1342380"/>
              <a:gd name="connsiteX1" fmla="*/ 1370012 w 1376120"/>
              <a:gd name="connsiteY1" fmla="*/ 710555 h 1342380"/>
              <a:gd name="connsiteX2" fmla="*/ 1374775 w 1376120"/>
              <a:gd name="connsiteY2" fmla="*/ 1342380 h 1342380"/>
              <a:gd name="connsiteX3" fmla="*/ 4762 w 1376120"/>
              <a:gd name="connsiteY3" fmla="*/ 735226 h 1342380"/>
              <a:gd name="connsiteX4" fmla="*/ 0 w 1376120"/>
              <a:gd name="connsiteY4" fmla="*/ 701030 h 1342380"/>
              <a:gd name="connsiteX0" fmla="*/ 0 w 1376120"/>
              <a:gd name="connsiteY0" fmla="*/ 701030 h 1342380"/>
              <a:gd name="connsiteX1" fmla="*/ 1370012 w 1376120"/>
              <a:gd name="connsiteY1" fmla="*/ 710555 h 1342380"/>
              <a:gd name="connsiteX2" fmla="*/ 1374775 w 1376120"/>
              <a:gd name="connsiteY2" fmla="*/ 1342380 h 1342380"/>
              <a:gd name="connsiteX3" fmla="*/ 4762 w 1376120"/>
              <a:gd name="connsiteY3" fmla="*/ 735226 h 1342380"/>
              <a:gd name="connsiteX4" fmla="*/ 0 w 1376120"/>
              <a:gd name="connsiteY4" fmla="*/ 701030 h 1342380"/>
              <a:gd name="connsiteX0" fmla="*/ 0 w 1376120"/>
              <a:gd name="connsiteY0" fmla="*/ 701030 h 1093683"/>
              <a:gd name="connsiteX1" fmla="*/ 1370012 w 1376120"/>
              <a:gd name="connsiteY1" fmla="*/ 710555 h 1093683"/>
              <a:gd name="connsiteX2" fmla="*/ 1365119 w 1376120"/>
              <a:gd name="connsiteY2" fmla="*/ 744713 h 1093683"/>
              <a:gd name="connsiteX3" fmla="*/ 4762 w 1376120"/>
              <a:gd name="connsiteY3" fmla="*/ 735226 h 1093683"/>
              <a:gd name="connsiteX4" fmla="*/ 0 w 1376120"/>
              <a:gd name="connsiteY4" fmla="*/ 701030 h 1093683"/>
              <a:gd name="connsiteX0" fmla="*/ 0 w 1376120"/>
              <a:gd name="connsiteY0" fmla="*/ 701030 h 1329471"/>
              <a:gd name="connsiteX1" fmla="*/ 1370012 w 1376120"/>
              <a:gd name="connsiteY1" fmla="*/ 710555 h 1329471"/>
              <a:gd name="connsiteX2" fmla="*/ 1365119 w 1376120"/>
              <a:gd name="connsiteY2" fmla="*/ 744713 h 1329471"/>
              <a:gd name="connsiteX3" fmla="*/ 4762 w 1376120"/>
              <a:gd name="connsiteY3" fmla="*/ 735226 h 1329471"/>
              <a:gd name="connsiteX4" fmla="*/ 0 w 1376120"/>
              <a:gd name="connsiteY4" fmla="*/ 701030 h 1329471"/>
              <a:gd name="connsiteX0" fmla="*/ 0 w 1376120"/>
              <a:gd name="connsiteY0" fmla="*/ 701030 h 1325703"/>
              <a:gd name="connsiteX1" fmla="*/ 1370012 w 1376120"/>
              <a:gd name="connsiteY1" fmla="*/ 710555 h 1325703"/>
              <a:gd name="connsiteX2" fmla="*/ 1365119 w 1376120"/>
              <a:gd name="connsiteY2" fmla="*/ 744713 h 1325703"/>
              <a:gd name="connsiteX3" fmla="*/ 4762 w 1376120"/>
              <a:gd name="connsiteY3" fmla="*/ 735226 h 1325703"/>
              <a:gd name="connsiteX4" fmla="*/ 0 w 1376120"/>
              <a:gd name="connsiteY4" fmla="*/ 701030 h 1325703"/>
              <a:gd name="connsiteX0" fmla="*/ 4894 w 1371402"/>
              <a:gd name="connsiteY0" fmla="*/ 685781 h 1348401"/>
              <a:gd name="connsiteX1" fmla="*/ 1365250 w 1371402"/>
              <a:gd name="connsiteY1" fmla="*/ 733253 h 1348401"/>
              <a:gd name="connsiteX2" fmla="*/ 1360357 w 1371402"/>
              <a:gd name="connsiteY2" fmla="*/ 767411 h 1348401"/>
              <a:gd name="connsiteX3" fmla="*/ 0 w 1371402"/>
              <a:gd name="connsiteY3" fmla="*/ 757924 h 1348401"/>
              <a:gd name="connsiteX4" fmla="*/ 4894 w 1371402"/>
              <a:gd name="connsiteY4" fmla="*/ 685781 h 1348401"/>
              <a:gd name="connsiteX0" fmla="*/ 4894 w 1371007"/>
              <a:gd name="connsiteY0" fmla="*/ 628517 h 1291137"/>
              <a:gd name="connsiteX1" fmla="*/ 1365250 w 1371007"/>
              <a:gd name="connsiteY1" fmla="*/ 675989 h 1291137"/>
              <a:gd name="connsiteX2" fmla="*/ 1360357 w 1371007"/>
              <a:gd name="connsiteY2" fmla="*/ 710147 h 1291137"/>
              <a:gd name="connsiteX3" fmla="*/ 0 w 1371007"/>
              <a:gd name="connsiteY3" fmla="*/ 700660 h 1291137"/>
              <a:gd name="connsiteX4" fmla="*/ 4894 w 1371007"/>
              <a:gd name="connsiteY4" fmla="*/ 628517 h 1291137"/>
              <a:gd name="connsiteX0" fmla="*/ 4894 w 1369587"/>
              <a:gd name="connsiteY0" fmla="*/ 660164 h 1322784"/>
              <a:gd name="connsiteX1" fmla="*/ 1365250 w 1369587"/>
              <a:gd name="connsiteY1" fmla="*/ 707636 h 1322784"/>
              <a:gd name="connsiteX2" fmla="*/ 1360357 w 1369587"/>
              <a:gd name="connsiteY2" fmla="*/ 741794 h 1322784"/>
              <a:gd name="connsiteX3" fmla="*/ 0 w 1369587"/>
              <a:gd name="connsiteY3" fmla="*/ 732307 h 1322784"/>
              <a:gd name="connsiteX4" fmla="*/ 4894 w 1369587"/>
              <a:gd name="connsiteY4" fmla="*/ 660164 h 1322784"/>
              <a:gd name="connsiteX0" fmla="*/ 9722 w 1369602"/>
              <a:gd name="connsiteY0" fmla="*/ 660164 h 1322784"/>
              <a:gd name="connsiteX1" fmla="*/ 1365250 w 1369602"/>
              <a:gd name="connsiteY1" fmla="*/ 707636 h 1322784"/>
              <a:gd name="connsiteX2" fmla="*/ 1360357 w 1369602"/>
              <a:gd name="connsiteY2" fmla="*/ 741794 h 1322784"/>
              <a:gd name="connsiteX3" fmla="*/ 0 w 1369602"/>
              <a:gd name="connsiteY3" fmla="*/ 732307 h 1322784"/>
              <a:gd name="connsiteX4" fmla="*/ 9722 w 1369602"/>
              <a:gd name="connsiteY4" fmla="*/ 660164 h 1322784"/>
              <a:gd name="connsiteX0" fmla="*/ 66 w 1359946"/>
              <a:gd name="connsiteY0" fmla="*/ 660164 h 1322784"/>
              <a:gd name="connsiteX1" fmla="*/ 1355594 w 1359946"/>
              <a:gd name="connsiteY1" fmla="*/ 707636 h 1322784"/>
              <a:gd name="connsiteX2" fmla="*/ 1350701 w 1359946"/>
              <a:gd name="connsiteY2" fmla="*/ 741794 h 1322784"/>
              <a:gd name="connsiteX3" fmla="*/ 0 w 1359946"/>
              <a:gd name="connsiteY3" fmla="*/ 732307 h 1322784"/>
              <a:gd name="connsiteX4" fmla="*/ 66 w 1359946"/>
              <a:gd name="connsiteY4" fmla="*/ 660164 h 1322784"/>
              <a:gd name="connsiteX0" fmla="*/ 66 w 1388823"/>
              <a:gd name="connsiteY0" fmla="*/ 668497 h 1331117"/>
              <a:gd name="connsiteX1" fmla="*/ 1384561 w 1388823"/>
              <a:gd name="connsiteY1" fmla="*/ 696995 h 1331117"/>
              <a:gd name="connsiteX2" fmla="*/ 1350701 w 1388823"/>
              <a:gd name="connsiteY2" fmla="*/ 750127 h 1331117"/>
              <a:gd name="connsiteX3" fmla="*/ 0 w 1388823"/>
              <a:gd name="connsiteY3" fmla="*/ 740640 h 1331117"/>
              <a:gd name="connsiteX4" fmla="*/ 66 w 1388823"/>
              <a:gd name="connsiteY4" fmla="*/ 668497 h 1331117"/>
              <a:gd name="connsiteX0" fmla="*/ 66 w 1388823"/>
              <a:gd name="connsiteY0" fmla="*/ 668497 h 1423145"/>
              <a:gd name="connsiteX1" fmla="*/ 1384561 w 1388823"/>
              <a:gd name="connsiteY1" fmla="*/ 696995 h 1423145"/>
              <a:gd name="connsiteX2" fmla="*/ 1316907 w 1388823"/>
              <a:gd name="connsiteY2" fmla="*/ 935120 h 1423145"/>
              <a:gd name="connsiteX3" fmla="*/ 0 w 1388823"/>
              <a:gd name="connsiteY3" fmla="*/ 740640 h 1423145"/>
              <a:gd name="connsiteX4" fmla="*/ 66 w 1388823"/>
              <a:gd name="connsiteY4" fmla="*/ 668497 h 1423145"/>
              <a:gd name="connsiteX0" fmla="*/ 66 w 1388823"/>
              <a:gd name="connsiteY0" fmla="*/ 668497 h 1423145"/>
              <a:gd name="connsiteX1" fmla="*/ 1384561 w 1388823"/>
              <a:gd name="connsiteY1" fmla="*/ 696995 h 1423145"/>
              <a:gd name="connsiteX2" fmla="*/ 1316907 w 1388823"/>
              <a:gd name="connsiteY2" fmla="*/ 935120 h 1423145"/>
              <a:gd name="connsiteX3" fmla="*/ 0 w 1388823"/>
              <a:gd name="connsiteY3" fmla="*/ 740640 h 1423145"/>
              <a:gd name="connsiteX4" fmla="*/ 66 w 1388823"/>
              <a:gd name="connsiteY4" fmla="*/ 668497 h 1423145"/>
              <a:gd name="connsiteX0" fmla="*/ 66 w 1388823"/>
              <a:gd name="connsiteY0" fmla="*/ 668497 h 1425722"/>
              <a:gd name="connsiteX1" fmla="*/ 1384561 w 1388823"/>
              <a:gd name="connsiteY1" fmla="*/ 696995 h 1425722"/>
              <a:gd name="connsiteX2" fmla="*/ 1336218 w 1388823"/>
              <a:gd name="connsiteY2" fmla="*/ 939864 h 1425722"/>
              <a:gd name="connsiteX3" fmla="*/ 0 w 1388823"/>
              <a:gd name="connsiteY3" fmla="*/ 740640 h 1425722"/>
              <a:gd name="connsiteX4" fmla="*/ 66 w 1388823"/>
              <a:gd name="connsiteY4" fmla="*/ 668497 h 1425722"/>
              <a:gd name="connsiteX0" fmla="*/ 66 w 1388823"/>
              <a:gd name="connsiteY0" fmla="*/ 668497 h 1425722"/>
              <a:gd name="connsiteX1" fmla="*/ 1384561 w 1388823"/>
              <a:gd name="connsiteY1" fmla="*/ 696995 h 1425722"/>
              <a:gd name="connsiteX2" fmla="*/ 1336218 w 1388823"/>
              <a:gd name="connsiteY2" fmla="*/ 939864 h 1425722"/>
              <a:gd name="connsiteX3" fmla="*/ 0 w 1388823"/>
              <a:gd name="connsiteY3" fmla="*/ 740640 h 1425722"/>
              <a:gd name="connsiteX4" fmla="*/ 66 w 1388823"/>
              <a:gd name="connsiteY4" fmla="*/ 668497 h 1425722"/>
              <a:gd name="connsiteX0" fmla="*/ 66 w 1388823"/>
              <a:gd name="connsiteY0" fmla="*/ 668497 h 1357878"/>
              <a:gd name="connsiteX1" fmla="*/ 1384561 w 1388823"/>
              <a:gd name="connsiteY1" fmla="*/ 696995 h 1357878"/>
              <a:gd name="connsiteX2" fmla="*/ 1336218 w 1388823"/>
              <a:gd name="connsiteY2" fmla="*/ 939864 h 1357878"/>
              <a:gd name="connsiteX3" fmla="*/ 0 w 1388823"/>
              <a:gd name="connsiteY3" fmla="*/ 740640 h 1357878"/>
              <a:gd name="connsiteX4" fmla="*/ 66 w 1388823"/>
              <a:gd name="connsiteY4" fmla="*/ 668497 h 1357878"/>
              <a:gd name="connsiteX0" fmla="*/ 4893 w 1393650"/>
              <a:gd name="connsiteY0" fmla="*/ 668497 h 1394664"/>
              <a:gd name="connsiteX1" fmla="*/ 1389388 w 1393650"/>
              <a:gd name="connsiteY1" fmla="*/ 696995 h 1394664"/>
              <a:gd name="connsiteX2" fmla="*/ 1341045 w 1393650"/>
              <a:gd name="connsiteY2" fmla="*/ 939864 h 1394664"/>
              <a:gd name="connsiteX3" fmla="*/ 0 w 1393650"/>
              <a:gd name="connsiteY3" fmla="*/ 811792 h 1394664"/>
              <a:gd name="connsiteX4" fmla="*/ 4893 w 1393650"/>
              <a:gd name="connsiteY4" fmla="*/ 668497 h 1394664"/>
              <a:gd name="connsiteX0" fmla="*/ 4893 w 1393650"/>
              <a:gd name="connsiteY0" fmla="*/ 668497 h 1354383"/>
              <a:gd name="connsiteX1" fmla="*/ 1389388 w 1393650"/>
              <a:gd name="connsiteY1" fmla="*/ 696995 h 1354383"/>
              <a:gd name="connsiteX2" fmla="*/ 1341045 w 1393650"/>
              <a:gd name="connsiteY2" fmla="*/ 939864 h 1354383"/>
              <a:gd name="connsiteX3" fmla="*/ 0 w 1393650"/>
              <a:gd name="connsiteY3" fmla="*/ 811792 h 1354383"/>
              <a:gd name="connsiteX4" fmla="*/ 4893 w 1393650"/>
              <a:gd name="connsiteY4" fmla="*/ 668497 h 1354383"/>
              <a:gd name="connsiteX0" fmla="*/ 5330 w 1394087"/>
              <a:gd name="connsiteY0" fmla="*/ 668497 h 1354383"/>
              <a:gd name="connsiteX1" fmla="*/ 1389825 w 1394087"/>
              <a:gd name="connsiteY1" fmla="*/ 696995 h 1354383"/>
              <a:gd name="connsiteX2" fmla="*/ 1341482 w 1394087"/>
              <a:gd name="connsiteY2" fmla="*/ 939864 h 1354383"/>
              <a:gd name="connsiteX3" fmla="*/ 437 w 1394087"/>
              <a:gd name="connsiteY3" fmla="*/ 811792 h 1354383"/>
              <a:gd name="connsiteX4" fmla="*/ 5330 w 1394087"/>
              <a:gd name="connsiteY4" fmla="*/ 668497 h 1354383"/>
              <a:gd name="connsiteX0" fmla="*/ 0 w 1408010"/>
              <a:gd name="connsiteY0" fmla="*/ 654008 h 1373097"/>
              <a:gd name="connsiteX1" fmla="*/ 1403806 w 1408010"/>
              <a:gd name="connsiteY1" fmla="*/ 715709 h 1373097"/>
              <a:gd name="connsiteX2" fmla="*/ 1355463 w 1408010"/>
              <a:gd name="connsiteY2" fmla="*/ 958578 h 1373097"/>
              <a:gd name="connsiteX3" fmla="*/ 14418 w 1408010"/>
              <a:gd name="connsiteY3" fmla="*/ 830506 h 1373097"/>
              <a:gd name="connsiteX4" fmla="*/ 0 w 1408010"/>
              <a:gd name="connsiteY4" fmla="*/ 654008 h 1373097"/>
              <a:gd name="connsiteX0" fmla="*/ 0 w 1408096"/>
              <a:gd name="connsiteY0" fmla="*/ 640544 h 1359633"/>
              <a:gd name="connsiteX1" fmla="*/ 1403806 w 1408096"/>
              <a:gd name="connsiteY1" fmla="*/ 702245 h 1359633"/>
              <a:gd name="connsiteX2" fmla="*/ 1355463 w 1408096"/>
              <a:gd name="connsiteY2" fmla="*/ 945114 h 1359633"/>
              <a:gd name="connsiteX3" fmla="*/ 14418 w 1408096"/>
              <a:gd name="connsiteY3" fmla="*/ 817042 h 1359633"/>
              <a:gd name="connsiteX4" fmla="*/ 0 w 1408096"/>
              <a:gd name="connsiteY4" fmla="*/ 640544 h 1359633"/>
              <a:gd name="connsiteX0" fmla="*/ 0 w 1404766"/>
              <a:gd name="connsiteY0" fmla="*/ 643774 h 1362863"/>
              <a:gd name="connsiteX1" fmla="*/ 1403806 w 1404766"/>
              <a:gd name="connsiteY1" fmla="*/ 705475 h 1362863"/>
              <a:gd name="connsiteX2" fmla="*/ 1355463 w 1404766"/>
              <a:gd name="connsiteY2" fmla="*/ 948344 h 1362863"/>
              <a:gd name="connsiteX3" fmla="*/ 14418 w 1404766"/>
              <a:gd name="connsiteY3" fmla="*/ 820272 h 1362863"/>
              <a:gd name="connsiteX4" fmla="*/ 0 w 1404766"/>
              <a:gd name="connsiteY4" fmla="*/ 643774 h 1362863"/>
              <a:gd name="connsiteX0" fmla="*/ 0 w 1399638"/>
              <a:gd name="connsiteY0" fmla="*/ 642622 h 1361711"/>
              <a:gd name="connsiteX1" fmla="*/ 1398433 w 1399638"/>
              <a:gd name="connsiteY1" fmla="*/ 706963 h 1361711"/>
              <a:gd name="connsiteX2" fmla="*/ 1355463 w 1399638"/>
              <a:gd name="connsiteY2" fmla="*/ 947192 h 1361711"/>
              <a:gd name="connsiteX3" fmla="*/ 14418 w 1399638"/>
              <a:gd name="connsiteY3" fmla="*/ 819120 h 1361711"/>
              <a:gd name="connsiteX4" fmla="*/ 0 w 1399638"/>
              <a:gd name="connsiteY4" fmla="*/ 642622 h 1361711"/>
              <a:gd name="connsiteX0" fmla="*/ 0 w 1400799"/>
              <a:gd name="connsiteY0" fmla="*/ 642622 h 1361711"/>
              <a:gd name="connsiteX1" fmla="*/ 1398433 w 1400799"/>
              <a:gd name="connsiteY1" fmla="*/ 706963 h 1361711"/>
              <a:gd name="connsiteX2" fmla="*/ 1355463 w 1400799"/>
              <a:gd name="connsiteY2" fmla="*/ 947192 h 1361711"/>
              <a:gd name="connsiteX3" fmla="*/ 14418 w 1400799"/>
              <a:gd name="connsiteY3" fmla="*/ 819120 h 1361711"/>
              <a:gd name="connsiteX4" fmla="*/ 0 w 1400799"/>
              <a:gd name="connsiteY4" fmla="*/ 642622 h 1361711"/>
              <a:gd name="connsiteX0" fmla="*/ 0 w 1400799"/>
              <a:gd name="connsiteY0" fmla="*/ 642622 h 1360734"/>
              <a:gd name="connsiteX1" fmla="*/ 1398433 w 1400799"/>
              <a:gd name="connsiteY1" fmla="*/ 706963 h 1360734"/>
              <a:gd name="connsiteX2" fmla="*/ 1355463 w 1400799"/>
              <a:gd name="connsiteY2" fmla="*/ 947192 h 1360734"/>
              <a:gd name="connsiteX3" fmla="*/ 14418 w 1400799"/>
              <a:gd name="connsiteY3" fmla="*/ 819120 h 1360734"/>
              <a:gd name="connsiteX4" fmla="*/ 0 w 1400799"/>
              <a:gd name="connsiteY4" fmla="*/ 642622 h 1360734"/>
              <a:gd name="connsiteX0" fmla="*/ 0 w 1400799"/>
              <a:gd name="connsiteY0" fmla="*/ 642622 h 1347487"/>
              <a:gd name="connsiteX1" fmla="*/ 1398433 w 1400799"/>
              <a:gd name="connsiteY1" fmla="*/ 706963 h 1347487"/>
              <a:gd name="connsiteX2" fmla="*/ 1355463 w 1400799"/>
              <a:gd name="connsiteY2" fmla="*/ 947192 h 1347487"/>
              <a:gd name="connsiteX3" fmla="*/ 17104 w 1400799"/>
              <a:gd name="connsiteY3" fmla="*/ 792723 h 1347487"/>
              <a:gd name="connsiteX4" fmla="*/ 0 w 1400799"/>
              <a:gd name="connsiteY4" fmla="*/ 642622 h 1347487"/>
              <a:gd name="connsiteX0" fmla="*/ 0 w 1400799"/>
              <a:gd name="connsiteY0" fmla="*/ 642622 h 1356367"/>
              <a:gd name="connsiteX1" fmla="*/ 1398433 w 1400799"/>
              <a:gd name="connsiteY1" fmla="*/ 706963 h 1356367"/>
              <a:gd name="connsiteX2" fmla="*/ 1355463 w 1400799"/>
              <a:gd name="connsiteY2" fmla="*/ 947192 h 1356367"/>
              <a:gd name="connsiteX3" fmla="*/ 17104 w 1400799"/>
              <a:gd name="connsiteY3" fmla="*/ 792723 h 1356367"/>
              <a:gd name="connsiteX4" fmla="*/ 0 w 1400799"/>
              <a:gd name="connsiteY4" fmla="*/ 642622 h 1356367"/>
              <a:gd name="connsiteX0" fmla="*/ 12758 w 1384003"/>
              <a:gd name="connsiteY0" fmla="*/ 580396 h 1447249"/>
              <a:gd name="connsiteX1" fmla="*/ 1381637 w 1384003"/>
              <a:gd name="connsiteY1" fmla="*/ 797845 h 1447249"/>
              <a:gd name="connsiteX2" fmla="*/ 1338667 w 1384003"/>
              <a:gd name="connsiteY2" fmla="*/ 1038074 h 1447249"/>
              <a:gd name="connsiteX3" fmla="*/ 308 w 1384003"/>
              <a:gd name="connsiteY3" fmla="*/ 883605 h 1447249"/>
              <a:gd name="connsiteX4" fmla="*/ 12758 w 1384003"/>
              <a:gd name="connsiteY4" fmla="*/ 580396 h 1447249"/>
              <a:gd name="connsiteX0" fmla="*/ 13072 w 1384317"/>
              <a:gd name="connsiteY0" fmla="*/ 580396 h 1447249"/>
              <a:gd name="connsiteX1" fmla="*/ 1381951 w 1384317"/>
              <a:gd name="connsiteY1" fmla="*/ 797845 h 1447249"/>
              <a:gd name="connsiteX2" fmla="*/ 1338981 w 1384317"/>
              <a:gd name="connsiteY2" fmla="*/ 1038074 h 1447249"/>
              <a:gd name="connsiteX3" fmla="*/ 622 w 1384317"/>
              <a:gd name="connsiteY3" fmla="*/ 883605 h 1447249"/>
              <a:gd name="connsiteX4" fmla="*/ 13072 w 1384317"/>
              <a:gd name="connsiteY4" fmla="*/ 580396 h 1447249"/>
              <a:gd name="connsiteX0" fmla="*/ 26189 w 1383999"/>
              <a:gd name="connsiteY0" fmla="*/ 575445 h 1455497"/>
              <a:gd name="connsiteX1" fmla="*/ 1381633 w 1383999"/>
              <a:gd name="connsiteY1" fmla="*/ 806093 h 1455497"/>
              <a:gd name="connsiteX2" fmla="*/ 1338663 w 1383999"/>
              <a:gd name="connsiteY2" fmla="*/ 1046322 h 1455497"/>
              <a:gd name="connsiteX3" fmla="*/ 304 w 1383999"/>
              <a:gd name="connsiteY3" fmla="*/ 891853 h 1455497"/>
              <a:gd name="connsiteX4" fmla="*/ 26189 w 1383999"/>
              <a:gd name="connsiteY4" fmla="*/ 575445 h 1455497"/>
              <a:gd name="connsiteX0" fmla="*/ 26317 w 1384127"/>
              <a:gd name="connsiteY0" fmla="*/ 575445 h 1455497"/>
              <a:gd name="connsiteX1" fmla="*/ 1381761 w 1384127"/>
              <a:gd name="connsiteY1" fmla="*/ 806093 h 1455497"/>
              <a:gd name="connsiteX2" fmla="*/ 1338791 w 1384127"/>
              <a:gd name="connsiteY2" fmla="*/ 1046322 h 1455497"/>
              <a:gd name="connsiteX3" fmla="*/ 432 w 1384127"/>
              <a:gd name="connsiteY3" fmla="*/ 891853 h 1455497"/>
              <a:gd name="connsiteX4" fmla="*/ 26317 w 1384127"/>
              <a:gd name="connsiteY4" fmla="*/ 575445 h 1455497"/>
              <a:gd name="connsiteX0" fmla="*/ 26317 w 1384127"/>
              <a:gd name="connsiteY0" fmla="*/ 468636 h 1348688"/>
              <a:gd name="connsiteX1" fmla="*/ 1381761 w 1384127"/>
              <a:gd name="connsiteY1" fmla="*/ 699284 h 1348688"/>
              <a:gd name="connsiteX2" fmla="*/ 1338791 w 1384127"/>
              <a:gd name="connsiteY2" fmla="*/ 939513 h 1348688"/>
              <a:gd name="connsiteX3" fmla="*/ 432 w 1384127"/>
              <a:gd name="connsiteY3" fmla="*/ 785044 h 1348688"/>
              <a:gd name="connsiteX4" fmla="*/ 26317 w 1384127"/>
              <a:gd name="connsiteY4" fmla="*/ 468636 h 1348688"/>
              <a:gd name="connsiteX0" fmla="*/ 26317 w 1384127"/>
              <a:gd name="connsiteY0" fmla="*/ 474629 h 1354681"/>
              <a:gd name="connsiteX1" fmla="*/ 1381761 w 1384127"/>
              <a:gd name="connsiteY1" fmla="*/ 705277 h 1354681"/>
              <a:gd name="connsiteX2" fmla="*/ 1338791 w 1384127"/>
              <a:gd name="connsiteY2" fmla="*/ 945506 h 1354681"/>
              <a:gd name="connsiteX3" fmla="*/ 432 w 1384127"/>
              <a:gd name="connsiteY3" fmla="*/ 791037 h 1354681"/>
              <a:gd name="connsiteX4" fmla="*/ 26317 w 1384127"/>
              <a:gd name="connsiteY4" fmla="*/ 474629 h 1354681"/>
              <a:gd name="connsiteX0" fmla="*/ 26317 w 1384127"/>
              <a:gd name="connsiteY0" fmla="*/ 466934 h 1346986"/>
              <a:gd name="connsiteX1" fmla="*/ 1381761 w 1384127"/>
              <a:gd name="connsiteY1" fmla="*/ 697582 h 1346986"/>
              <a:gd name="connsiteX2" fmla="*/ 1338791 w 1384127"/>
              <a:gd name="connsiteY2" fmla="*/ 937811 h 1346986"/>
              <a:gd name="connsiteX3" fmla="*/ 432 w 1384127"/>
              <a:gd name="connsiteY3" fmla="*/ 783342 h 1346986"/>
              <a:gd name="connsiteX4" fmla="*/ 26317 w 1384127"/>
              <a:gd name="connsiteY4" fmla="*/ 466934 h 1346986"/>
              <a:gd name="connsiteX0" fmla="*/ 26317 w 1384127"/>
              <a:gd name="connsiteY0" fmla="*/ 463881 h 1343933"/>
              <a:gd name="connsiteX1" fmla="*/ 1381761 w 1384127"/>
              <a:gd name="connsiteY1" fmla="*/ 694529 h 1343933"/>
              <a:gd name="connsiteX2" fmla="*/ 1338791 w 1384127"/>
              <a:gd name="connsiteY2" fmla="*/ 934758 h 1343933"/>
              <a:gd name="connsiteX3" fmla="*/ 432 w 1384127"/>
              <a:gd name="connsiteY3" fmla="*/ 780289 h 1343933"/>
              <a:gd name="connsiteX4" fmla="*/ 26317 w 1384127"/>
              <a:gd name="connsiteY4" fmla="*/ 463881 h 1343933"/>
              <a:gd name="connsiteX0" fmla="*/ 26317 w 1395853"/>
              <a:gd name="connsiteY0" fmla="*/ 460078 h 1340130"/>
              <a:gd name="connsiteX1" fmla="*/ 1394912 w 1395853"/>
              <a:gd name="connsiteY1" fmla="*/ 700234 h 1340130"/>
              <a:gd name="connsiteX2" fmla="*/ 1338791 w 1395853"/>
              <a:gd name="connsiteY2" fmla="*/ 930955 h 1340130"/>
              <a:gd name="connsiteX3" fmla="*/ 432 w 1395853"/>
              <a:gd name="connsiteY3" fmla="*/ 776486 h 1340130"/>
              <a:gd name="connsiteX4" fmla="*/ 26317 w 1395853"/>
              <a:gd name="connsiteY4" fmla="*/ 460078 h 1340130"/>
              <a:gd name="connsiteX0" fmla="*/ 25885 w 1395421"/>
              <a:gd name="connsiteY0" fmla="*/ 460078 h 1340130"/>
              <a:gd name="connsiteX1" fmla="*/ 1394480 w 1395421"/>
              <a:gd name="connsiteY1" fmla="*/ 700234 h 1340130"/>
              <a:gd name="connsiteX2" fmla="*/ 1338359 w 1395421"/>
              <a:gd name="connsiteY2" fmla="*/ 930955 h 1340130"/>
              <a:gd name="connsiteX3" fmla="*/ 0 w 1395421"/>
              <a:gd name="connsiteY3" fmla="*/ 776486 h 1340130"/>
              <a:gd name="connsiteX4" fmla="*/ 25885 w 1395421"/>
              <a:gd name="connsiteY4" fmla="*/ 460078 h 1340130"/>
              <a:gd name="connsiteX0" fmla="*/ 42324 w 1395421"/>
              <a:gd name="connsiteY0" fmla="*/ 456316 h 1345876"/>
              <a:gd name="connsiteX1" fmla="*/ 1394480 w 1395421"/>
              <a:gd name="connsiteY1" fmla="*/ 705980 h 1345876"/>
              <a:gd name="connsiteX2" fmla="*/ 1338359 w 1395421"/>
              <a:gd name="connsiteY2" fmla="*/ 936701 h 1345876"/>
              <a:gd name="connsiteX3" fmla="*/ 0 w 1395421"/>
              <a:gd name="connsiteY3" fmla="*/ 782232 h 1345876"/>
              <a:gd name="connsiteX4" fmla="*/ 42324 w 1395421"/>
              <a:gd name="connsiteY4" fmla="*/ 456316 h 1345876"/>
              <a:gd name="connsiteX0" fmla="*/ 42324 w 1395421"/>
              <a:gd name="connsiteY0" fmla="*/ 460311 h 1349871"/>
              <a:gd name="connsiteX1" fmla="*/ 1394480 w 1395421"/>
              <a:gd name="connsiteY1" fmla="*/ 709975 h 1349871"/>
              <a:gd name="connsiteX2" fmla="*/ 1338359 w 1395421"/>
              <a:gd name="connsiteY2" fmla="*/ 940696 h 1349871"/>
              <a:gd name="connsiteX3" fmla="*/ 0 w 1395421"/>
              <a:gd name="connsiteY3" fmla="*/ 786227 h 1349871"/>
              <a:gd name="connsiteX4" fmla="*/ 42324 w 1395421"/>
              <a:gd name="connsiteY4" fmla="*/ 460311 h 1349871"/>
              <a:gd name="connsiteX0" fmla="*/ 42324 w 1395421"/>
              <a:gd name="connsiteY0" fmla="*/ 457648 h 1347208"/>
              <a:gd name="connsiteX1" fmla="*/ 1394480 w 1395421"/>
              <a:gd name="connsiteY1" fmla="*/ 707312 h 1347208"/>
              <a:gd name="connsiteX2" fmla="*/ 1338359 w 1395421"/>
              <a:gd name="connsiteY2" fmla="*/ 938033 h 1347208"/>
              <a:gd name="connsiteX3" fmla="*/ 0 w 1395421"/>
              <a:gd name="connsiteY3" fmla="*/ 783564 h 1347208"/>
              <a:gd name="connsiteX4" fmla="*/ 42324 w 1395421"/>
              <a:gd name="connsiteY4" fmla="*/ 457648 h 1347208"/>
              <a:gd name="connsiteX0" fmla="*/ 62050 w 1395421"/>
              <a:gd name="connsiteY0" fmla="*/ 455166 h 1351064"/>
              <a:gd name="connsiteX1" fmla="*/ 1394480 w 1395421"/>
              <a:gd name="connsiteY1" fmla="*/ 711168 h 1351064"/>
              <a:gd name="connsiteX2" fmla="*/ 1338359 w 1395421"/>
              <a:gd name="connsiteY2" fmla="*/ 941889 h 1351064"/>
              <a:gd name="connsiteX3" fmla="*/ 0 w 1395421"/>
              <a:gd name="connsiteY3" fmla="*/ 787420 h 1351064"/>
              <a:gd name="connsiteX4" fmla="*/ 62050 w 1395421"/>
              <a:gd name="connsiteY4" fmla="*/ 455166 h 1351064"/>
              <a:gd name="connsiteX0" fmla="*/ 62050 w 1395421"/>
              <a:gd name="connsiteY0" fmla="*/ 455166 h 1351064"/>
              <a:gd name="connsiteX1" fmla="*/ 1394480 w 1395421"/>
              <a:gd name="connsiteY1" fmla="*/ 711168 h 1351064"/>
              <a:gd name="connsiteX2" fmla="*/ 1338359 w 1395421"/>
              <a:gd name="connsiteY2" fmla="*/ 941889 h 1351064"/>
              <a:gd name="connsiteX3" fmla="*/ 0 w 1395421"/>
              <a:gd name="connsiteY3" fmla="*/ 787420 h 1351064"/>
              <a:gd name="connsiteX4" fmla="*/ 62050 w 1395421"/>
              <a:gd name="connsiteY4" fmla="*/ 455166 h 1351064"/>
              <a:gd name="connsiteX0" fmla="*/ 39036 w 1395421"/>
              <a:gd name="connsiteY0" fmla="*/ 447832 h 1362746"/>
              <a:gd name="connsiteX1" fmla="*/ 1394480 w 1395421"/>
              <a:gd name="connsiteY1" fmla="*/ 722850 h 1362746"/>
              <a:gd name="connsiteX2" fmla="*/ 1338359 w 1395421"/>
              <a:gd name="connsiteY2" fmla="*/ 953571 h 1362746"/>
              <a:gd name="connsiteX3" fmla="*/ 0 w 1395421"/>
              <a:gd name="connsiteY3" fmla="*/ 799102 h 1362746"/>
              <a:gd name="connsiteX4" fmla="*/ 39036 w 1395421"/>
              <a:gd name="connsiteY4" fmla="*/ 447832 h 1362746"/>
              <a:gd name="connsiteX0" fmla="*/ 39036 w 1395421"/>
              <a:gd name="connsiteY0" fmla="*/ 433087 h 1348001"/>
              <a:gd name="connsiteX1" fmla="*/ 1394480 w 1395421"/>
              <a:gd name="connsiteY1" fmla="*/ 708105 h 1348001"/>
              <a:gd name="connsiteX2" fmla="*/ 1338359 w 1395421"/>
              <a:gd name="connsiteY2" fmla="*/ 938826 h 1348001"/>
              <a:gd name="connsiteX3" fmla="*/ 0 w 1395421"/>
              <a:gd name="connsiteY3" fmla="*/ 784357 h 1348001"/>
              <a:gd name="connsiteX4" fmla="*/ 39036 w 1395421"/>
              <a:gd name="connsiteY4" fmla="*/ 433087 h 1348001"/>
              <a:gd name="connsiteX0" fmla="*/ 41940 w 1398325"/>
              <a:gd name="connsiteY0" fmla="*/ 433087 h 1348001"/>
              <a:gd name="connsiteX1" fmla="*/ 1397384 w 1398325"/>
              <a:gd name="connsiteY1" fmla="*/ 708105 h 1348001"/>
              <a:gd name="connsiteX2" fmla="*/ 1341263 w 1398325"/>
              <a:gd name="connsiteY2" fmla="*/ 938826 h 1348001"/>
              <a:gd name="connsiteX3" fmla="*/ 2904 w 1398325"/>
              <a:gd name="connsiteY3" fmla="*/ 784357 h 1348001"/>
              <a:gd name="connsiteX4" fmla="*/ 41940 w 1398325"/>
              <a:gd name="connsiteY4" fmla="*/ 433087 h 134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8325" h="1348001">
                <a:moveTo>
                  <a:pt x="41940" y="433087"/>
                </a:moveTo>
                <a:cubicBezTo>
                  <a:pt x="356074" y="-265149"/>
                  <a:pt x="1414477" y="-79963"/>
                  <a:pt x="1397384" y="708105"/>
                </a:cubicBezTo>
                <a:cubicBezTo>
                  <a:pt x="1401659" y="712808"/>
                  <a:pt x="1392780" y="808856"/>
                  <a:pt x="1341263" y="938826"/>
                </a:cubicBezTo>
                <a:cubicBezTo>
                  <a:pt x="1159695" y="1431081"/>
                  <a:pt x="216547" y="1589193"/>
                  <a:pt x="2904" y="784357"/>
                </a:cubicBezTo>
                <a:cubicBezTo>
                  <a:pt x="-6912" y="577148"/>
                  <a:pt x="8657" y="576976"/>
                  <a:pt x="41940" y="433087"/>
                </a:cubicBezTo>
                <a:close/>
              </a:path>
            </a:pathLst>
          </a:custGeom>
        </p:spPr>
        <p:txBody>
          <a:bodyPr/>
          <a:lstStyle>
            <a:lvl1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AT" dirty="0"/>
          </a:p>
        </p:txBody>
      </p:sp>
      <p:sp>
        <p:nvSpPr>
          <p:cNvPr id="21" name="Textplatzhalter 4"/>
          <p:cNvSpPr>
            <a:spLocks noGrp="1"/>
          </p:cNvSpPr>
          <p:nvPr>
            <p:ph type="body" sz="quarter" idx="15"/>
          </p:nvPr>
        </p:nvSpPr>
        <p:spPr>
          <a:xfrm>
            <a:off x="7979686" y="1657883"/>
            <a:ext cx="3394800" cy="1153683"/>
          </a:xfrm>
          <a:prstGeom prst="rect">
            <a:avLst/>
          </a:prstGeom>
        </p:spPr>
        <p:txBody>
          <a:bodyPr vert="horz"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00" b="0" baseline="0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endParaRPr lang="de-AT" dirty="0"/>
          </a:p>
        </p:txBody>
      </p:sp>
      <p:sp>
        <p:nvSpPr>
          <p:cNvPr id="22" name="Textplatzhalter 4"/>
          <p:cNvSpPr>
            <a:spLocks noGrp="1"/>
          </p:cNvSpPr>
          <p:nvPr>
            <p:ph type="body" sz="quarter" idx="17"/>
          </p:nvPr>
        </p:nvSpPr>
        <p:spPr>
          <a:xfrm>
            <a:off x="2412753" y="4946412"/>
            <a:ext cx="3394800" cy="1153683"/>
          </a:xfrm>
          <a:prstGeom prst="rect">
            <a:avLst/>
          </a:prstGeom>
        </p:spPr>
        <p:txBody>
          <a:bodyPr vert="horz"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00" b="0" baseline="0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endParaRPr lang="de-AT" dirty="0"/>
          </a:p>
        </p:txBody>
      </p:sp>
      <p:sp>
        <p:nvSpPr>
          <p:cNvPr id="23" name="Textplatzhalter 4"/>
          <p:cNvSpPr>
            <a:spLocks noGrp="1"/>
          </p:cNvSpPr>
          <p:nvPr>
            <p:ph type="body" sz="quarter" idx="21"/>
          </p:nvPr>
        </p:nvSpPr>
        <p:spPr>
          <a:xfrm>
            <a:off x="2405390" y="3317133"/>
            <a:ext cx="3394800" cy="1153683"/>
          </a:xfrm>
          <a:prstGeom prst="rect">
            <a:avLst/>
          </a:prstGeom>
        </p:spPr>
        <p:txBody>
          <a:bodyPr vert="horz"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00" b="0" baseline="0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endParaRPr lang="de-AT" dirty="0"/>
          </a:p>
        </p:txBody>
      </p:sp>
      <p:sp>
        <p:nvSpPr>
          <p:cNvPr id="24" name="Textplatzhalter 4"/>
          <p:cNvSpPr>
            <a:spLocks noGrp="1"/>
          </p:cNvSpPr>
          <p:nvPr>
            <p:ph type="body" sz="quarter" idx="23"/>
          </p:nvPr>
        </p:nvSpPr>
        <p:spPr>
          <a:xfrm>
            <a:off x="7981884" y="3317133"/>
            <a:ext cx="3394800" cy="1153683"/>
          </a:xfrm>
          <a:prstGeom prst="rect">
            <a:avLst/>
          </a:prstGeom>
        </p:spPr>
        <p:txBody>
          <a:bodyPr vert="horz" lIns="0" tIns="0" rIns="0" bIns="0" anchor="t"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300" b="0" baseline="0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endParaRPr lang="de-AT" dirty="0"/>
          </a:p>
        </p:txBody>
      </p:sp>
      <p:sp>
        <p:nvSpPr>
          <p:cNvPr id="25" name="Ellipse 24"/>
          <p:cNvSpPr/>
          <p:nvPr userDrawn="1"/>
        </p:nvSpPr>
        <p:spPr>
          <a:xfrm>
            <a:off x="809533" y="3195783"/>
            <a:ext cx="1427148" cy="1427148"/>
          </a:xfrm>
          <a:prstGeom prst="ellipse">
            <a:avLst/>
          </a:prstGeom>
          <a:noFill/>
          <a:ln w="57150" cmpd="dbl">
            <a:solidFill>
              <a:srgbClr val="0099FF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AT">
              <a:effectLst/>
            </a:endParaRPr>
          </a:p>
        </p:txBody>
      </p:sp>
      <p:sp>
        <p:nvSpPr>
          <p:cNvPr id="26" name="Bildplatzhalter 6"/>
          <p:cNvSpPr>
            <a:spLocks noGrp="1"/>
          </p:cNvSpPr>
          <p:nvPr>
            <p:ph type="pic" sz="quarter" idx="25"/>
          </p:nvPr>
        </p:nvSpPr>
        <p:spPr>
          <a:xfrm>
            <a:off x="846458" y="3233104"/>
            <a:ext cx="1350386" cy="1350392"/>
          </a:xfrm>
          <a:custGeom>
            <a:avLst/>
            <a:gdLst>
              <a:gd name="connsiteX0" fmla="*/ 0 w 1370013"/>
              <a:gd name="connsiteY0" fmla="*/ 0 h 1355725"/>
              <a:gd name="connsiteX1" fmla="*/ 1370013 w 1370013"/>
              <a:gd name="connsiteY1" fmla="*/ 0 h 1355725"/>
              <a:gd name="connsiteX2" fmla="*/ 1370013 w 1370013"/>
              <a:gd name="connsiteY2" fmla="*/ 1355725 h 1355725"/>
              <a:gd name="connsiteX3" fmla="*/ 0 w 1370013"/>
              <a:gd name="connsiteY3" fmla="*/ 1355725 h 1355725"/>
              <a:gd name="connsiteX4" fmla="*/ 0 w 1370013"/>
              <a:gd name="connsiteY4" fmla="*/ 0 h 1355725"/>
              <a:gd name="connsiteX0" fmla="*/ 0 w 1370013"/>
              <a:gd name="connsiteY0" fmla="*/ 0 h 1355725"/>
              <a:gd name="connsiteX1" fmla="*/ 1365250 w 1370013"/>
              <a:gd name="connsiteY1" fmla="*/ 723900 h 1355725"/>
              <a:gd name="connsiteX2" fmla="*/ 1370013 w 1370013"/>
              <a:gd name="connsiteY2" fmla="*/ 1355725 h 1355725"/>
              <a:gd name="connsiteX3" fmla="*/ 0 w 1370013"/>
              <a:gd name="connsiteY3" fmla="*/ 1355725 h 1355725"/>
              <a:gd name="connsiteX4" fmla="*/ 0 w 1370013"/>
              <a:gd name="connsiteY4" fmla="*/ 0 h 1355725"/>
              <a:gd name="connsiteX0" fmla="*/ 4763 w 1370013"/>
              <a:gd name="connsiteY0" fmla="*/ 0 h 641350"/>
              <a:gd name="connsiteX1" fmla="*/ 1365250 w 1370013"/>
              <a:gd name="connsiteY1" fmla="*/ 9525 h 641350"/>
              <a:gd name="connsiteX2" fmla="*/ 1370013 w 1370013"/>
              <a:gd name="connsiteY2" fmla="*/ 641350 h 641350"/>
              <a:gd name="connsiteX3" fmla="*/ 0 w 1370013"/>
              <a:gd name="connsiteY3" fmla="*/ 641350 h 641350"/>
              <a:gd name="connsiteX4" fmla="*/ 4763 w 1370013"/>
              <a:gd name="connsiteY4" fmla="*/ 0 h 641350"/>
              <a:gd name="connsiteX0" fmla="*/ 4763 w 1370013"/>
              <a:gd name="connsiteY0" fmla="*/ 595847 h 1237197"/>
              <a:gd name="connsiteX1" fmla="*/ 1365250 w 1370013"/>
              <a:gd name="connsiteY1" fmla="*/ 605372 h 1237197"/>
              <a:gd name="connsiteX2" fmla="*/ 1370013 w 1370013"/>
              <a:gd name="connsiteY2" fmla="*/ 1237197 h 1237197"/>
              <a:gd name="connsiteX3" fmla="*/ 0 w 1370013"/>
              <a:gd name="connsiteY3" fmla="*/ 1237197 h 1237197"/>
              <a:gd name="connsiteX4" fmla="*/ 4763 w 1370013"/>
              <a:gd name="connsiteY4" fmla="*/ 595847 h 1237197"/>
              <a:gd name="connsiteX0" fmla="*/ 4763 w 1370013"/>
              <a:gd name="connsiteY0" fmla="*/ 764647 h 1405997"/>
              <a:gd name="connsiteX1" fmla="*/ 1365250 w 1370013"/>
              <a:gd name="connsiteY1" fmla="*/ 774172 h 1405997"/>
              <a:gd name="connsiteX2" fmla="*/ 1370013 w 1370013"/>
              <a:gd name="connsiteY2" fmla="*/ 1405997 h 1405997"/>
              <a:gd name="connsiteX3" fmla="*/ 0 w 1370013"/>
              <a:gd name="connsiteY3" fmla="*/ 1405997 h 1405997"/>
              <a:gd name="connsiteX4" fmla="*/ 4763 w 1370013"/>
              <a:gd name="connsiteY4" fmla="*/ 764647 h 1405997"/>
              <a:gd name="connsiteX0" fmla="*/ 4763 w 1370013"/>
              <a:gd name="connsiteY0" fmla="*/ 716251 h 1357601"/>
              <a:gd name="connsiteX1" fmla="*/ 1365250 w 1370013"/>
              <a:gd name="connsiteY1" fmla="*/ 725776 h 1357601"/>
              <a:gd name="connsiteX2" fmla="*/ 1370013 w 1370013"/>
              <a:gd name="connsiteY2" fmla="*/ 1357601 h 1357601"/>
              <a:gd name="connsiteX3" fmla="*/ 0 w 1370013"/>
              <a:gd name="connsiteY3" fmla="*/ 1357601 h 1357601"/>
              <a:gd name="connsiteX4" fmla="*/ 4763 w 1370013"/>
              <a:gd name="connsiteY4" fmla="*/ 716251 h 1357601"/>
              <a:gd name="connsiteX0" fmla="*/ 211 w 1374986"/>
              <a:gd name="connsiteY0" fmla="*/ 716251 h 1357601"/>
              <a:gd name="connsiteX1" fmla="*/ 1370223 w 1374986"/>
              <a:gd name="connsiteY1" fmla="*/ 725776 h 1357601"/>
              <a:gd name="connsiteX2" fmla="*/ 1374986 w 1374986"/>
              <a:gd name="connsiteY2" fmla="*/ 1357601 h 1357601"/>
              <a:gd name="connsiteX3" fmla="*/ 4973 w 1374986"/>
              <a:gd name="connsiteY3" fmla="*/ 1357601 h 1357601"/>
              <a:gd name="connsiteX4" fmla="*/ 211 w 1374986"/>
              <a:gd name="connsiteY4" fmla="*/ 716251 h 1357601"/>
              <a:gd name="connsiteX0" fmla="*/ 0 w 1374775"/>
              <a:gd name="connsiteY0" fmla="*/ 716251 h 1357601"/>
              <a:gd name="connsiteX1" fmla="*/ 1370012 w 1374775"/>
              <a:gd name="connsiteY1" fmla="*/ 725776 h 1357601"/>
              <a:gd name="connsiteX2" fmla="*/ 1374775 w 1374775"/>
              <a:gd name="connsiteY2" fmla="*/ 1357601 h 1357601"/>
              <a:gd name="connsiteX3" fmla="*/ 4762 w 1374775"/>
              <a:gd name="connsiteY3" fmla="*/ 1357601 h 1357601"/>
              <a:gd name="connsiteX4" fmla="*/ 0 w 1374775"/>
              <a:gd name="connsiteY4" fmla="*/ 716251 h 1357601"/>
              <a:gd name="connsiteX0" fmla="*/ 0 w 1374775"/>
              <a:gd name="connsiteY0" fmla="*/ 686229 h 1327579"/>
              <a:gd name="connsiteX1" fmla="*/ 1370012 w 1374775"/>
              <a:gd name="connsiteY1" fmla="*/ 695754 h 1327579"/>
              <a:gd name="connsiteX2" fmla="*/ 1374775 w 1374775"/>
              <a:gd name="connsiteY2" fmla="*/ 1327579 h 1327579"/>
              <a:gd name="connsiteX3" fmla="*/ 4762 w 1374775"/>
              <a:gd name="connsiteY3" fmla="*/ 1327579 h 1327579"/>
              <a:gd name="connsiteX4" fmla="*/ 0 w 1374775"/>
              <a:gd name="connsiteY4" fmla="*/ 686229 h 1327579"/>
              <a:gd name="connsiteX0" fmla="*/ 0 w 1375266"/>
              <a:gd name="connsiteY0" fmla="*/ 707643 h 1348993"/>
              <a:gd name="connsiteX1" fmla="*/ 1370012 w 1375266"/>
              <a:gd name="connsiteY1" fmla="*/ 717168 h 1348993"/>
              <a:gd name="connsiteX2" fmla="*/ 1374775 w 1375266"/>
              <a:gd name="connsiteY2" fmla="*/ 1348993 h 1348993"/>
              <a:gd name="connsiteX3" fmla="*/ 4762 w 1375266"/>
              <a:gd name="connsiteY3" fmla="*/ 1348993 h 1348993"/>
              <a:gd name="connsiteX4" fmla="*/ 0 w 1375266"/>
              <a:gd name="connsiteY4" fmla="*/ 707643 h 1348993"/>
              <a:gd name="connsiteX0" fmla="*/ 0 w 1375506"/>
              <a:gd name="connsiteY0" fmla="*/ 713559 h 1354909"/>
              <a:gd name="connsiteX1" fmla="*/ 1370012 w 1375506"/>
              <a:gd name="connsiteY1" fmla="*/ 723084 h 1354909"/>
              <a:gd name="connsiteX2" fmla="*/ 1374775 w 1375506"/>
              <a:gd name="connsiteY2" fmla="*/ 1354909 h 1354909"/>
              <a:gd name="connsiteX3" fmla="*/ 4762 w 1375506"/>
              <a:gd name="connsiteY3" fmla="*/ 1354909 h 1354909"/>
              <a:gd name="connsiteX4" fmla="*/ 0 w 1375506"/>
              <a:gd name="connsiteY4" fmla="*/ 713559 h 1354909"/>
              <a:gd name="connsiteX0" fmla="*/ 0 w 1375468"/>
              <a:gd name="connsiteY0" fmla="*/ 697806 h 1339156"/>
              <a:gd name="connsiteX1" fmla="*/ 1370012 w 1375468"/>
              <a:gd name="connsiteY1" fmla="*/ 707331 h 1339156"/>
              <a:gd name="connsiteX2" fmla="*/ 1374775 w 1375468"/>
              <a:gd name="connsiteY2" fmla="*/ 1339156 h 1339156"/>
              <a:gd name="connsiteX3" fmla="*/ 4762 w 1375468"/>
              <a:gd name="connsiteY3" fmla="*/ 1339156 h 1339156"/>
              <a:gd name="connsiteX4" fmla="*/ 0 w 1375468"/>
              <a:gd name="connsiteY4" fmla="*/ 697806 h 1339156"/>
              <a:gd name="connsiteX0" fmla="*/ 0 w 1375430"/>
              <a:gd name="connsiteY0" fmla="*/ 705673 h 1347023"/>
              <a:gd name="connsiteX1" fmla="*/ 1370012 w 1375430"/>
              <a:gd name="connsiteY1" fmla="*/ 715198 h 1347023"/>
              <a:gd name="connsiteX2" fmla="*/ 1374775 w 1375430"/>
              <a:gd name="connsiteY2" fmla="*/ 1347023 h 1347023"/>
              <a:gd name="connsiteX3" fmla="*/ 4762 w 1375430"/>
              <a:gd name="connsiteY3" fmla="*/ 1347023 h 1347023"/>
              <a:gd name="connsiteX4" fmla="*/ 0 w 1375430"/>
              <a:gd name="connsiteY4" fmla="*/ 705673 h 1347023"/>
              <a:gd name="connsiteX0" fmla="*/ 0 w 1375929"/>
              <a:gd name="connsiteY0" fmla="*/ 701030 h 1342380"/>
              <a:gd name="connsiteX1" fmla="*/ 1370012 w 1375929"/>
              <a:gd name="connsiteY1" fmla="*/ 710555 h 1342380"/>
              <a:gd name="connsiteX2" fmla="*/ 1374775 w 1375929"/>
              <a:gd name="connsiteY2" fmla="*/ 1342380 h 1342380"/>
              <a:gd name="connsiteX3" fmla="*/ 4762 w 1375929"/>
              <a:gd name="connsiteY3" fmla="*/ 1342380 h 1342380"/>
              <a:gd name="connsiteX4" fmla="*/ 0 w 1375929"/>
              <a:gd name="connsiteY4" fmla="*/ 701030 h 1342380"/>
              <a:gd name="connsiteX0" fmla="*/ 0 w 1376120"/>
              <a:gd name="connsiteY0" fmla="*/ 701030 h 1342380"/>
              <a:gd name="connsiteX1" fmla="*/ 1370012 w 1376120"/>
              <a:gd name="connsiteY1" fmla="*/ 710555 h 1342380"/>
              <a:gd name="connsiteX2" fmla="*/ 1374775 w 1376120"/>
              <a:gd name="connsiteY2" fmla="*/ 1342380 h 1342380"/>
              <a:gd name="connsiteX3" fmla="*/ 4762 w 1376120"/>
              <a:gd name="connsiteY3" fmla="*/ 1342380 h 1342380"/>
              <a:gd name="connsiteX4" fmla="*/ 0 w 1376120"/>
              <a:gd name="connsiteY4" fmla="*/ 701030 h 1342380"/>
              <a:gd name="connsiteX0" fmla="*/ 0 w 1376120"/>
              <a:gd name="connsiteY0" fmla="*/ 701030 h 1342380"/>
              <a:gd name="connsiteX1" fmla="*/ 1370012 w 1376120"/>
              <a:gd name="connsiteY1" fmla="*/ 710555 h 1342380"/>
              <a:gd name="connsiteX2" fmla="*/ 1374775 w 1376120"/>
              <a:gd name="connsiteY2" fmla="*/ 1342380 h 1342380"/>
              <a:gd name="connsiteX3" fmla="*/ 4762 w 1376120"/>
              <a:gd name="connsiteY3" fmla="*/ 735226 h 1342380"/>
              <a:gd name="connsiteX4" fmla="*/ 0 w 1376120"/>
              <a:gd name="connsiteY4" fmla="*/ 701030 h 1342380"/>
              <a:gd name="connsiteX0" fmla="*/ 0 w 1376120"/>
              <a:gd name="connsiteY0" fmla="*/ 701030 h 1342380"/>
              <a:gd name="connsiteX1" fmla="*/ 1370012 w 1376120"/>
              <a:gd name="connsiteY1" fmla="*/ 710555 h 1342380"/>
              <a:gd name="connsiteX2" fmla="*/ 1374775 w 1376120"/>
              <a:gd name="connsiteY2" fmla="*/ 1342380 h 1342380"/>
              <a:gd name="connsiteX3" fmla="*/ 4762 w 1376120"/>
              <a:gd name="connsiteY3" fmla="*/ 735226 h 1342380"/>
              <a:gd name="connsiteX4" fmla="*/ 0 w 1376120"/>
              <a:gd name="connsiteY4" fmla="*/ 701030 h 1342380"/>
              <a:gd name="connsiteX0" fmla="*/ 0 w 1376120"/>
              <a:gd name="connsiteY0" fmla="*/ 701030 h 1093683"/>
              <a:gd name="connsiteX1" fmla="*/ 1370012 w 1376120"/>
              <a:gd name="connsiteY1" fmla="*/ 710555 h 1093683"/>
              <a:gd name="connsiteX2" fmla="*/ 1365119 w 1376120"/>
              <a:gd name="connsiteY2" fmla="*/ 744713 h 1093683"/>
              <a:gd name="connsiteX3" fmla="*/ 4762 w 1376120"/>
              <a:gd name="connsiteY3" fmla="*/ 735226 h 1093683"/>
              <a:gd name="connsiteX4" fmla="*/ 0 w 1376120"/>
              <a:gd name="connsiteY4" fmla="*/ 701030 h 1093683"/>
              <a:gd name="connsiteX0" fmla="*/ 0 w 1376120"/>
              <a:gd name="connsiteY0" fmla="*/ 701030 h 1329471"/>
              <a:gd name="connsiteX1" fmla="*/ 1370012 w 1376120"/>
              <a:gd name="connsiteY1" fmla="*/ 710555 h 1329471"/>
              <a:gd name="connsiteX2" fmla="*/ 1365119 w 1376120"/>
              <a:gd name="connsiteY2" fmla="*/ 744713 h 1329471"/>
              <a:gd name="connsiteX3" fmla="*/ 4762 w 1376120"/>
              <a:gd name="connsiteY3" fmla="*/ 735226 h 1329471"/>
              <a:gd name="connsiteX4" fmla="*/ 0 w 1376120"/>
              <a:gd name="connsiteY4" fmla="*/ 701030 h 1329471"/>
              <a:gd name="connsiteX0" fmla="*/ 0 w 1376120"/>
              <a:gd name="connsiteY0" fmla="*/ 701030 h 1325703"/>
              <a:gd name="connsiteX1" fmla="*/ 1370012 w 1376120"/>
              <a:gd name="connsiteY1" fmla="*/ 710555 h 1325703"/>
              <a:gd name="connsiteX2" fmla="*/ 1365119 w 1376120"/>
              <a:gd name="connsiteY2" fmla="*/ 744713 h 1325703"/>
              <a:gd name="connsiteX3" fmla="*/ 4762 w 1376120"/>
              <a:gd name="connsiteY3" fmla="*/ 735226 h 1325703"/>
              <a:gd name="connsiteX4" fmla="*/ 0 w 1376120"/>
              <a:gd name="connsiteY4" fmla="*/ 701030 h 1325703"/>
              <a:gd name="connsiteX0" fmla="*/ 4894 w 1371402"/>
              <a:gd name="connsiteY0" fmla="*/ 685781 h 1348401"/>
              <a:gd name="connsiteX1" fmla="*/ 1365250 w 1371402"/>
              <a:gd name="connsiteY1" fmla="*/ 733253 h 1348401"/>
              <a:gd name="connsiteX2" fmla="*/ 1360357 w 1371402"/>
              <a:gd name="connsiteY2" fmla="*/ 767411 h 1348401"/>
              <a:gd name="connsiteX3" fmla="*/ 0 w 1371402"/>
              <a:gd name="connsiteY3" fmla="*/ 757924 h 1348401"/>
              <a:gd name="connsiteX4" fmla="*/ 4894 w 1371402"/>
              <a:gd name="connsiteY4" fmla="*/ 685781 h 1348401"/>
              <a:gd name="connsiteX0" fmla="*/ 4894 w 1371007"/>
              <a:gd name="connsiteY0" fmla="*/ 628517 h 1291137"/>
              <a:gd name="connsiteX1" fmla="*/ 1365250 w 1371007"/>
              <a:gd name="connsiteY1" fmla="*/ 675989 h 1291137"/>
              <a:gd name="connsiteX2" fmla="*/ 1360357 w 1371007"/>
              <a:gd name="connsiteY2" fmla="*/ 710147 h 1291137"/>
              <a:gd name="connsiteX3" fmla="*/ 0 w 1371007"/>
              <a:gd name="connsiteY3" fmla="*/ 700660 h 1291137"/>
              <a:gd name="connsiteX4" fmla="*/ 4894 w 1371007"/>
              <a:gd name="connsiteY4" fmla="*/ 628517 h 1291137"/>
              <a:gd name="connsiteX0" fmla="*/ 4894 w 1369587"/>
              <a:gd name="connsiteY0" fmla="*/ 660164 h 1322784"/>
              <a:gd name="connsiteX1" fmla="*/ 1365250 w 1369587"/>
              <a:gd name="connsiteY1" fmla="*/ 707636 h 1322784"/>
              <a:gd name="connsiteX2" fmla="*/ 1360357 w 1369587"/>
              <a:gd name="connsiteY2" fmla="*/ 741794 h 1322784"/>
              <a:gd name="connsiteX3" fmla="*/ 0 w 1369587"/>
              <a:gd name="connsiteY3" fmla="*/ 732307 h 1322784"/>
              <a:gd name="connsiteX4" fmla="*/ 4894 w 1369587"/>
              <a:gd name="connsiteY4" fmla="*/ 660164 h 1322784"/>
              <a:gd name="connsiteX0" fmla="*/ 9722 w 1369602"/>
              <a:gd name="connsiteY0" fmla="*/ 660164 h 1322784"/>
              <a:gd name="connsiteX1" fmla="*/ 1365250 w 1369602"/>
              <a:gd name="connsiteY1" fmla="*/ 707636 h 1322784"/>
              <a:gd name="connsiteX2" fmla="*/ 1360357 w 1369602"/>
              <a:gd name="connsiteY2" fmla="*/ 741794 h 1322784"/>
              <a:gd name="connsiteX3" fmla="*/ 0 w 1369602"/>
              <a:gd name="connsiteY3" fmla="*/ 732307 h 1322784"/>
              <a:gd name="connsiteX4" fmla="*/ 9722 w 1369602"/>
              <a:gd name="connsiteY4" fmla="*/ 660164 h 1322784"/>
              <a:gd name="connsiteX0" fmla="*/ 66 w 1359946"/>
              <a:gd name="connsiteY0" fmla="*/ 660164 h 1322784"/>
              <a:gd name="connsiteX1" fmla="*/ 1355594 w 1359946"/>
              <a:gd name="connsiteY1" fmla="*/ 707636 h 1322784"/>
              <a:gd name="connsiteX2" fmla="*/ 1350701 w 1359946"/>
              <a:gd name="connsiteY2" fmla="*/ 741794 h 1322784"/>
              <a:gd name="connsiteX3" fmla="*/ 0 w 1359946"/>
              <a:gd name="connsiteY3" fmla="*/ 732307 h 1322784"/>
              <a:gd name="connsiteX4" fmla="*/ 66 w 1359946"/>
              <a:gd name="connsiteY4" fmla="*/ 660164 h 1322784"/>
              <a:gd name="connsiteX0" fmla="*/ 66 w 1388823"/>
              <a:gd name="connsiteY0" fmla="*/ 668497 h 1331117"/>
              <a:gd name="connsiteX1" fmla="*/ 1384561 w 1388823"/>
              <a:gd name="connsiteY1" fmla="*/ 696995 h 1331117"/>
              <a:gd name="connsiteX2" fmla="*/ 1350701 w 1388823"/>
              <a:gd name="connsiteY2" fmla="*/ 750127 h 1331117"/>
              <a:gd name="connsiteX3" fmla="*/ 0 w 1388823"/>
              <a:gd name="connsiteY3" fmla="*/ 740640 h 1331117"/>
              <a:gd name="connsiteX4" fmla="*/ 66 w 1388823"/>
              <a:gd name="connsiteY4" fmla="*/ 668497 h 1331117"/>
              <a:gd name="connsiteX0" fmla="*/ 66 w 1388823"/>
              <a:gd name="connsiteY0" fmla="*/ 668497 h 1423145"/>
              <a:gd name="connsiteX1" fmla="*/ 1384561 w 1388823"/>
              <a:gd name="connsiteY1" fmla="*/ 696995 h 1423145"/>
              <a:gd name="connsiteX2" fmla="*/ 1316907 w 1388823"/>
              <a:gd name="connsiteY2" fmla="*/ 935120 h 1423145"/>
              <a:gd name="connsiteX3" fmla="*/ 0 w 1388823"/>
              <a:gd name="connsiteY3" fmla="*/ 740640 h 1423145"/>
              <a:gd name="connsiteX4" fmla="*/ 66 w 1388823"/>
              <a:gd name="connsiteY4" fmla="*/ 668497 h 1423145"/>
              <a:gd name="connsiteX0" fmla="*/ 66 w 1388823"/>
              <a:gd name="connsiteY0" fmla="*/ 668497 h 1423145"/>
              <a:gd name="connsiteX1" fmla="*/ 1384561 w 1388823"/>
              <a:gd name="connsiteY1" fmla="*/ 696995 h 1423145"/>
              <a:gd name="connsiteX2" fmla="*/ 1316907 w 1388823"/>
              <a:gd name="connsiteY2" fmla="*/ 935120 h 1423145"/>
              <a:gd name="connsiteX3" fmla="*/ 0 w 1388823"/>
              <a:gd name="connsiteY3" fmla="*/ 740640 h 1423145"/>
              <a:gd name="connsiteX4" fmla="*/ 66 w 1388823"/>
              <a:gd name="connsiteY4" fmla="*/ 668497 h 1423145"/>
              <a:gd name="connsiteX0" fmla="*/ 66 w 1388823"/>
              <a:gd name="connsiteY0" fmla="*/ 668497 h 1425722"/>
              <a:gd name="connsiteX1" fmla="*/ 1384561 w 1388823"/>
              <a:gd name="connsiteY1" fmla="*/ 696995 h 1425722"/>
              <a:gd name="connsiteX2" fmla="*/ 1336218 w 1388823"/>
              <a:gd name="connsiteY2" fmla="*/ 939864 h 1425722"/>
              <a:gd name="connsiteX3" fmla="*/ 0 w 1388823"/>
              <a:gd name="connsiteY3" fmla="*/ 740640 h 1425722"/>
              <a:gd name="connsiteX4" fmla="*/ 66 w 1388823"/>
              <a:gd name="connsiteY4" fmla="*/ 668497 h 1425722"/>
              <a:gd name="connsiteX0" fmla="*/ 66 w 1388823"/>
              <a:gd name="connsiteY0" fmla="*/ 668497 h 1425722"/>
              <a:gd name="connsiteX1" fmla="*/ 1384561 w 1388823"/>
              <a:gd name="connsiteY1" fmla="*/ 696995 h 1425722"/>
              <a:gd name="connsiteX2" fmla="*/ 1336218 w 1388823"/>
              <a:gd name="connsiteY2" fmla="*/ 939864 h 1425722"/>
              <a:gd name="connsiteX3" fmla="*/ 0 w 1388823"/>
              <a:gd name="connsiteY3" fmla="*/ 740640 h 1425722"/>
              <a:gd name="connsiteX4" fmla="*/ 66 w 1388823"/>
              <a:gd name="connsiteY4" fmla="*/ 668497 h 1425722"/>
              <a:gd name="connsiteX0" fmla="*/ 66 w 1388823"/>
              <a:gd name="connsiteY0" fmla="*/ 668497 h 1357878"/>
              <a:gd name="connsiteX1" fmla="*/ 1384561 w 1388823"/>
              <a:gd name="connsiteY1" fmla="*/ 696995 h 1357878"/>
              <a:gd name="connsiteX2" fmla="*/ 1336218 w 1388823"/>
              <a:gd name="connsiteY2" fmla="*/ 939864 h 1357878"/>
              <a:gd name="connsiteX3" fmla="*/ 0 w 1388823"/>
              <a:gd name="connsiteY3" fmla="*/ 740640 h 1357878"/>
              <a:gd name="connsiteX4" fmla="*/ 66 w 1388823"/>
              <a:gd name="connsiteY4" fmla="*/ 668497 h 1357878"/>
              <a:gd name="connsiteX0" fmla="*/ 4893 w 1393650"/>
              <a:gd name="connsiteY0" fmla="*/ 668497 h 1394664"/>
              <a:gd name="connsiteX1" fmla="*/ 1389388 w 1393650"/>
              <a:gd name="connsiteY1" fmla="*/ 696995 h 1394664"/>
              <a:gd name="connsiteX2" fmla="*/ 1341045 w 1393650"/>
              <a:gd name="connsiteY2" fmla="*/ 939864 h 1394664"/>
              <a:gd name="connsiteX3" fmla="*/ 0 w 1393650"/>
              <a:gd name="connsiteY3" fmla="*/ 811792 h 1394664"/>
              <a:gd name="connsiteX4" fmla="*/ 4893 w 1393650"/>
              <a:gd name="connsiteY4" fmla="*/ 668497 h 1394664"/>
              <a:gd name="connsiteX0" fmla="*/ 4893 w 1393650"/>
              <a:gd name="connsiteY0" fmla="*/ 668497 h 1354383"/>
              <a:gd name="connsiteX1" fmla="*/ 1389388 w 1393650"/>
              <a:gd name="connsiteY1" fmla="*/ 696995 h 1354383"/>
              <a:gd name="connsiteX2" fmla="*/ 1341045 w 1393650"/>
              <a:gd name="connsiteY2" fmla="*/ 939864 h 1354383"/>
              <a:gd name="connsiteX3" fmla="*/ 0 w 1393650"/>
              <a:gd name="connsiteY3" fmla="*/ 811792 h 1354383"/>
              <a:gd name="connsiteX4" fmla="*/ 4893 w 1393650"/>
              <a:gd name="connsiteY4" fmla="*/ 668497 h 1354383"/>
              <a:gd name="connsiteX0" fmla="*/ 5330 w 1394087"/>
              <a:gd name="connsiteY0" fmla="*/ 668497 h 1354383"/>
              <a:gd name="connsiteX1" fmla="*/ 1389825 w 1394087"/>
              <a:gd name="connsiteY1" fmla="*/ 696995 h 1354383"/>
              <a:gd name="connsiteX2" fmla="*/ 1341482 w 1394087"/>
              <a:gd name="connsiteY2" fmla="*/ 939864 h 1354383"/>
              <a:gd name="connsiteX3" fmla="*/ 437 w 1394087"/>
              <a:gd name="connsiteY3" fmla="*/ 811792 h 1354383"/>
              <a:gd name="connsiteX4" fmla="*/ 5330 w 1394087"/>
              <a:gd name="connsiteY4" fmla="*/ 668497 h 1354383"/>
              <a:gd name="connsiteX0" fmla="*/ 0 w 1408010"/>
              <a:gd name="connsiteY0" fmla="*/ 654008 h 1373097"/>
              <a:gd name="connsiteX1" fmla="*/ 1403806 w 1408010"/>
              <a:gd name="connsiteY1" fmla="*/ 715709 h 1373097"/>
              <a:gd name="connsiteX2" fmla="*/ 1355463 w 1408010"/>
              <a:gd name="connsiteY2" fmla="*/ 958578 h 1373097"/>
              <a:gd name="connsiteX3" fmla="*/ 14418 w 1408010"/>
              <a:gd name="connsiteY3" fmla="*/ 830506 h 1373097"/>
              <a:gd name="connsiteX4" fmla="*/ 0 w 1408010"/>
              <a:gd name="connsiteY4" fmla="*/ 654008 h 1373097"/>
              <a:gd name="connsiteX0" fmla="*/ 0 w 1408096"/>
              <a:gd name="connsiteY0" fmla="*/ 640544 h 1359633"/>
              <a:gd name="connsiteX1" fmla="*/ 1403806 w 1408096"/>
              <a:gd name="connsiteY1" fmla="*/ 702245 h 1359633"/>
              <a:gd name="connsiteX2" fmla="*/ 1355463 w 1408096"/>
              <a:gd name="connsiteY2" fmla="*/ 945114 h 1359633"/>
              <a:gd name="connsiteX3" fmla="*/ 14418 w 1408096"/>
              <a:gd name="connsiteY3" fmla="*/ 817042 h 1359633"/>
              <a:gd name="connsiteX4" fmla="*/ 0 w 1408096"/>
              <a:gd name="connsiteY4" fmla="*/ 640544 h 1359633"/>
              <a:gd name="connsiteX0" fmla="*/ 0 w 1404766"/>
              <a:gd name="connsiteY0" fmla="*/ 643774 h 1362863"/>
              <a:gd name="connsiteX1" fmla="*/ 1403806 w 1404766"/>
              <a:gd name="connsiteY1" fmla="*/ 705475 h 1362863"/>
              <a:gd name="connsiteX2" fmla="*/ 1355463 w 1404766"/>
              <a:gd name="connsiteY2" fmla="*/ 948344 h 1362863"/>
              <a:gd name="connsiteX3" fmla="*/ 14418 w 1404766"/>
              <a:gd name="connsiteY3" fmla="*/ 820272 h 1362863"/>
              <a:gd name="connsiteX4" fmla="*/ 0 w 1404766"/>
              <a:gd name="connsiteY4" fmla="*/ 643774 h 1362863"/>
              <a:gd name="connsiteX0" fmla="*/ 0 w 1399638"/>
              <a:gd name="connsiteY0" fmla="*/ 642622 h 1361711"/>
              <a:gd name="connsiteX1" fmla="*/ 1398433 w 1399638"/>
              <a:gd name="connsiteY1" fmla="*/ 706963 h 1361711"/>
              <a:gd name="connsiteX2" fmla="*/ 1355463 w 1399638"/>
              <a:gd name="connsiteY2" fmla="*/ 947192 h 1361711"/>
              <a:gd name="connsiteX3" fmla="*/ 14418 w 1399638"/>
              <a:gd name="connsiteY3" fmla="*/ 819120 h 1361711"/>
              <a:gd name="connsiteX4" fmla="*/ 0 w 1399638"/>
              <a:gd name="connsiteY4" fmla="*/ 642622 h 1361711"/>
              <a:gd name="connsiteX0" fmla="*/ 0 w 1400799"/>
              <a:gd name="connsiteY0" fmla="*/ 642622 h 1361711"/>
              <a:gd name="connsiteX1" fmla="*/ 1398433 w 1400799"/>
              <a:gd name="connsiteY1" fmla="*/ 706963 h 1361711"/>
              <a:gd name="connsiteX2" fmla="*/ 1355463 w 1400799"/>
              <a:gd name="connsiteY2" fmla="*/ 947192 h 1361711"/>
              <a:gd name="connsiteX3" fmla="*/ 14418 w 1400799"/>
              <a:gd name="connsiteY3" fmla="*/ 819120 h 1361711"/>
              <a:gd name="connsiteX4" fmla="*/ 0 w 1400799"/>
              <a:gd name="connsiteY4" fmla="*/ 642622 h 1361711"/>
              <a:gd name="connsiteX0" fmla="*/ 0 w 1400799"/>
              <a:gd name="connsiteY0" fmla="*/ 642622 h 1360734"/>
              <a:gd name="connsiteX1" fmla="*/ 1398433 w 1400799"/>
              <a:gd name="connsiteY1" fmla="*/ 706963 h 1360734"/>
              <a:gd name="connsiteX2" fmla="*/ 1355463 w 1400799"/>
              <a:gd name="connsiteY2" fmla="*/ 947192 h 1360734"/>
              <a:gd name="connsiteX3" fmla="*/ 14418 w 1400799"/>
              <a:gd name="connsiteY3" fmla="*/ 819120 h 1360734"/>
              <a:gd name="connsiteX4" fmla="*/ 0 w 1400799"/>
              <a:gd name="connsiteY4" fmla="*/ 642622 h 1360734"/>
              <a:gd name="connsiteX0" fmla="*/ 0 w 1400799"/>
              <a:gd name="connsiteY0" fmla="*/ 642622 h 1347487"/>
              <a:gd name="connsiteX1" fmla="*/ 1398433 w 1400799"/>
              <a:gd name="connsiteY1" fmla="*/ 706963 h 1347487"/>
              <a:gd name="connsiteX2" fmla="*/ 1355463 w 1400799"/>
              <a:gd name="connsiteY2" fmla="*/ 947192 h 1347487"/>
              <a:gd name="connsiteX3" fmla="*/ 17104 w 1400799"/>
              <a:gd name="connsiteY3" fmla="*/ 792723 h 1347487"/>
              <a:gd name="connsiteX4" fmla="*/ 0 w 1400799"/>
              <a:gd name="connsiteY4" fmla="*/ 642622 h 1347487"/>
              <a:gd name="connsiteX0" fmla="*/ 0 w 1400799"/>
              <a:gd name="connsiteY0" fmla="*/ 642622 h 1356367"/>
              <a:gd name="connsiteX1" fmla="*/ 1398433 w 1400799"/>
              <a:gd name="connsiteY1" fmla="*/ 706963 h 1356367"/>
              <a:gd name="connsiteX2" fmla="*/ 1355463 w 1400799"/>
              <a:gd name="connsiteY2" fmla="*/ 947192 h 1356367"/>
              <a:gd name="connsiteX3" fmla="*/ 17104 w 1400799"/>
              <a:gd name="connsiteY3" fmla="*/ 792723 h 1356367"/>
              <a:gd name="connsiteX4" fmla="*/ 0 w 1400799"/>
              <a:gd name="connsiteY4" fmla="*/ 642622 h 1356367"/>
              <a:gd name="connsiteX0" fmla="*/ 12758 w 1384003"/>
              <a:gd name="connsiteY0" fmla="*/ 580396 h 1447249"/>
              <a:gd name="connsiteX1" fmla="*/ 1381637 w 1384003"/>
              <a:gd name="connsiteY1" fmla="*/ 797845 h 1447249"/>
              <a:gd name="connsiteX2" fmla="*/ 1338667 w 1384003"/>
              <a:gd name="connsiteY2" fmla="*/ 1038074 h 1447249"/>
              <a:gd name="connsiteX3" fmla="*/ 308 w 1384003"/>
              <a:gd name="connsiteY3" fmla="*/ 883605 h 1447249"/>
              <a:gd name="connsiteX4" fmla="*/ 12758 w 1384003"/>
              <a:gd name="connsiteY4" fmla="*/ 580396 h 1447249"/>
              <a:gd name="connsiteX0" fmla="*/ 13072 w 1384317"/>
              <a:gd name="connsiteY0" fmla="*/ 580396 h 1447249"/>
              <a:gd name="connsiteX1" fmla="*/ 1381951 w 1384317"/>
              <a:gd name="connsiteY1" fmla="*/ 797845 h 1447249"/>
              <a:gd name="connsiteX2" fmla="*/ 1338981 w 1384317"/>
              <a:gd name="connsiteY2" fmla="*/ 1038074 h 1447249"/>
              <a:gd name="connsiteX3" fmla="*/ 622 w 1384317"/>
              <a:gd name="connsiteY3" fmla="*/ 883605 h 1447249"/>
              <a:gd name="connsiteX4" fmla="*/ 13072 w 1384317"/>
              <a:gd name="connsiteY4" fmla="*/ 580396 h 1447249"/>
              <a:gd name="connsiteX0" fmla="*/ 26189 w 1383999"/>
              <a:gd name="connsiteY0" fmla="*/ 575445 h 1455497"/>
              <a:gd name="connsiteX1" fmla="*/ 1381633 w 1383999"/>
              <a:gd name="connsiteY1" fmla="*/ 806093 h 1455497"/>
              <a:gd name="connsiteX2" fmla="*/ 1338663 w 1383999"/>
              <a:gd name="connsiteY2" fmla="*/ 1046322 h 1455497"/>
              <a:gd name="connsiteX3" fmla="*/ 304 w 1383999"/>
              <a:gd name="connsiteY3" fmla="*/ 891853 h 1455497"/>
              <a:gd name="connsiteX4" fmla="*/ 26189 w 1383999"/>
              <a:gd name="connsiteY4" fmla="*/ 575445 h 1455497"/>
              <a:gd name="connsiteX0" fmla="*/ 26317 w 1384127"/>
              <a:gd name="connsiteY0" fmla="*/ 575445 h 1455497"/>
              <a:gd name="connsiteX1" fmla="*/ 1381761 w 1384127"/>
              <a:gd name="connsiteY1" fmla="*/ 806093 h 1455497"/>
              <a:gd name="connsiteX2" fmla="*/ 1338791 w 1384127"/>
              <a:gd name="connsiteY2" fmla="*/ 1046322 h 1455497"/>
              <a:gd name="connsiteX3" fmla="*/ 432 w 1384127"/>
              <a:gd name="connsiteY3" fmla="*/ 891853 h 1455497"/>
              <a:gd name="connsiteX4" fmla="*/ 26317 w 1384127"/>
              <a:gd name="connsiteY4" fmla="*/ 575445 h 1455497"/>
              <a:gd name="connsiteX0" fmla="*/ 26317 w 1384127"/>
              <a:gd name="connsiteY0" fmla="*/ 468636 h 1348688"/>
              <a:gd name="connsiteX1" fmla="*/ 1381761 w 1384127"/>
              <a:gd name="connsiteY1" fmla="*/ 699284 h 1348688"/>
              <a:gd name="connsiteX2" fmla="*/ 1338791 w 1384127"/>
              <a:gd name="connsiteY2" fmla="*/ 939513 h 1348688"/>
              <a:gd name="connsiteX3" fmla="*/ 432 w 1384127"/>
              <a:gd name="connsiteY3" fmla="*/ 785044 h 1348688"/>
              <a:gd name="connsiteX4" fmla="*/ 26317 w 1384127"/>
              <a:gd name="connsiteY4" fmla="*/ 468636 h 1348688"/>
              <a:gd name="connsiteX0" fmla="*/ 26317 w 1384127"/>
              <a:gd name="connsiteY0" fmla="*/ 474629 h 1354681"/>
              <a:gd name="connsiteX1" fmla="*/ 1381761 w 1384127"/>
              <a:gd name="connsiteY1" fmla="*/ 705277 h 1354681"/>
              <a:gd name="connsiteX2" fmla="*/ 1338791 w 1384127"/>
              <a:gd name="connsiteY2" fmla="*/ 945506 h 1354681"/>
              <a:gd name="connsiteX3" fmla="*/ 432 w 1384127"/>
              <a:gd name="connsiteY3" fmla="*/ 791037 h 1354681"/>
              <a:gd name="connsiteX4" fmla="*/ 26317 w 1384127"/>
              <a:gd name="connsiteY4" fmla="*/ 474629 h 1354681"/>
              <a:gd name="connsiteX0" fmla="*/ 26317 w 1384127"/>
              <a:gd name="connsiteY0" fmla="*/ 466934 h 1346986"/>
              <a:gd name="connsiteX1" fmla="*/ 1381761 w 1384127"/>
              <a:gd name="connsiteY1" fmla="*/ 697582 h 1346986"/>
              <a:gd name="connsiteX2" fmla="*/ 1338791 w 1384127"/>
              <a:gd name="connsiteY2" fmla="*/ 937811 h 1346986"/>
              <a:gd name="connsiteX3" fmla="*/ 432 w 1384127"/>
              <a:gd name="connsiteY3" fmla="*/ 783342 h 1346986"/>
              <a:gd name="connsiteX4" fmla="*/ 26317 w 1384127"/>
              <a:gd name="connsiteY4" fmla="*/ 466934 h 1346986"/>
              <a:gd name="connsiteX0" fmla="*/ 26317 w 1384127"/>
              <a:gd name="connsiteY0" fmla="*/ 463881 h 1343933"/>
              <a:gd name="connsiteX1" fmla="*/ 1381761 w 1384127"/>
              <a:gd name="connsiteY1" fmla="*/ 694529 h 1343933"/>
              <a:gd name="connsiteX2" fmla="*/ 1338791 w 1384127"/>
              <a:gd name="connsiteY2" fmla="*/ 934758 h 1343933"/>
              <a:gd name="connsiteX3" fmla="*/ 432 w 1384127"/>
              <a:gd name="connsiteY3" fmla="*/ 780289 h 1343933"/>
              <a:gd name="connsiteX4" fmla="*/ 26317 w 1384127"/>
              <a:gd name="connsiteY4" fmla="*/ 463881 h 1343933"/>
              <a:gd name="connsiteX0" fmla="*/ 26317 w 1395853"/>
              <a:gd name="connsiteY0" fmla="*/ 460078 h 1340130"/>
              <a:gd name="connsiteX1" fmla="*/ 1394912 w 1395853"/>
              <a:gd name="connsiteY1" fmla="*/ 700234 h 1340130"/>
              <a:gd name="connsiteX2" fmla="*/ 1338791 w 1395853"/>
              <a:gd name="connsiteY2" fmla="*/ 930955 h 1340130"/>
              <a:gd name="connsiteX3" fmla="*/ 432 w 1395853"/>
              <a:gd name="connsiteY3" fmla="*/ 776486 h 1340130"/>
              <a:gd name="connsiteX4" fmla="*/ 26317 w 1395853"/>
              <a:gd name="connsiteY4" fmla="*/ 460078 h 1340130"/>
              <a:gd name="connsiteX0" fmla="*/ 25885 w 1395421"/>
              <a:gd name="connsiteY0" fmla="*/ 460078 h 1340130"/>
              <a:gd name="connsiteX1" fmla="*/ 1394480 w 1395421"/>
              <a:gd name="connsiteY1" fmla="*/ 700234 h 1340130"/>
              <a:gd name="connsiteX2" fmla="*/ 1338359 w 1395421"/>
              <a:gd name="connsiteY2" fmla="*/ 930955 h 1340130"/>
              <a:gd name="connsiteX3" fmla="*/ 0 w 1395421"/>
              <a:gd name="connsiteY3" fmla="*/ 776486 h 1340130"/>
              <a:gd name="connsiteX4" fmla="*/ 25885 w 1395421"/>
              <a:gd name="connsiteY4" fmla="*/ 460078 h 1340130"/>
              <a:gd name="connsiteX0" fmla="*/ 42324 w 1395421"/>
              <a:gd name="connsiteY0" fmla="*/ 456316 h 1345876"/>
              <a:gd name="connsiteX1" fmla="*/ 1394480 w 1395421"/>
              <a:gd name="connsiteY1" fmla="*/ 705980 h 1345876"/>
              <a:gd name="connsiteX2" fmla="*/ 1338359 w 1395421"/>
              <a:gd name="connsiteY2" fmla="*/ 936701 h 1345876"/>
              <a:gd name="connsiteX3" fmla="*/ 0 w 1395421"/>
              <a:gd name="connsiteY3" fmla="*/ 782232 h 1345876"/>
              <a:gd name="connsiteX4" fmla="*/ 42324 w 1395421"/>
              <a:gd name="connsiteY4" fmla="*/ 456316 h 1345876"/>
              <a:gd name="connsiteX0" fmla="*/ 42324 w 1395421"/>
              <a:gd name="connsiteY0" fmla="*/ 460311 h 1349871"/>
              <a:gd name="connsiteX1" fmla="*/ 1394480 w 1395421"/>
              <a:gd name="connsiteY1" fmla="*/ 709975 h 1349871"/>
              <a:gd name="connsiteX2" fmla="*/ 1338359 w 1395421"/>
              <a:gd name="connsiteY2" fmla="*/ 940696 h 1349871"/>
              <a:gd name="connsiteX3" fmla="*/ 0 w 1395421"/>
              <a:gd name="connsiteY3" fmla="*/ 786227 h 1349871"/>
              <a:gd name="connsiteX4" fmla="*/ 42324 w 1395421"/>
              <a:gd name="connsiteY4" fmla="*/ 460311 h 1349871"/>
              <a:gd name="connsiteX0" fmla="*/ 42324 w 1395421"/>
              <a:gd name="connsiteY0" fmla="*/ 457648 h 1347208"/>
              <a:gd name="connsiteX1" fmla="*/ 1394480 w 1395421"/>
              <a:gd name="connsiteY1" fmla="*/ 707312 h 1347208"/>
              <a:gd name="connsiteX2" fmla="*/ 1338359 w 1395421"/>
              <a:gd name="connsiteY2" fmla="*/ 938033 h 1347208"/>
              <a:gd name="connsiteX3" fmla="*/ 0 w 1395421"/>
              <a:gd name="connsiteY3" fmla="*/ 783564 h 1347208"/>
              <a:gd name="connsiteX4" fmla="*/ 42324 w 1395421"/>
              <a:gd name="connsiteY4" fmla="*/ 457648 h 1347208"/>
              <a:gd name="connsiteX0" fmla="*/ 62050 w 1395421"/>
              <a:gd name="connsiteY0" fmla="*/ 455166 h 1351064"/>
              <a:gd name="connsiteX1" fmla="*/ 1394480 w 1395421"/>
              <a:gd name="connsiteY1" fmla="*/ 711168 h 1351064"/>
              <a:gd name="connsiteX2" fmla="*/ 1338359 w 1395421"/>
              <a:gd name="connsiteY2" fmla="*/ 941889 h 1351064"/>
              <a:gd name="connsiteX3" fmla="*/ 0 w 1395421"/>
              <a:gd name="connsiteY3" fmla="*/ 787420 h 1351064"/>
              <a:gd name="connsiteX4" fmla="*/ 62050 w 1395421"/>
              <a:gd name="connsiteY4" fmla="*/ 455166 h 1351064"/>
              <a:gd name="connsiteX0" fmla="*/ 62050 w 1395421"/>
              <a:gd name="connsiteY0" fmla="*/ 455166 h 1351064"/>
              <a:gd name="connsiteX1" fmla="*/ 1394480 w 1395421"/>
              <a:gd name="connsiteY1" fmla="*/ 711168 h 1351064"/>
              <a:gd name="connsiteX2" fmla="*/ 1338359 w 1395421"/>
              <a:gd name="connsiteY2" fmla="*/ 941889 h 1351064"/>
              <a:gd name="connsiteX3" fmla="*/ 0 w 1395421"/>
              <a:gd name="connsiteY3" fmla="*/ 787420 h 1351064"/>
              <a:gd name="connsiteX4" fmla="*/ 62050 w 1395421"/>
              <a:gd name="connsiteY4" fmla="*/ 455166 h 1351064"/>
              <a:gd name="connsiteX0" fmla="*/ 39036 w 1395421"/>
              <a:gd name="connsiteY0" fmla="*/ 447832 h 1362746"/>
              <a:gd name="connsiteX1" fmla="*/ 1394480 w 1395421"/>
              <a:gd name="connsiteY1" fmla="*/ 722850 h 1362746"/>
              <a:gd name="connsiteX2" fmla="*/ 1338359 w 1395421"/>
              <a:gd name="connsiteY2" fmla="*/ 953571 h 1362746"/>
              <a:gd name="connsiteX3" fmla="*/ 0 w 1395421"/>
              <a:gd name="connsiteY3" fmla="*/ 799102 h 1362746"/>
              <a:gd name="connsiteX4" fmla="*/ 39036 w 1395421"/>
              <a:gd name="connsiteY4" fmla="*/ 447832 h 1362746"/>
              <a:gd name="connsiteX0" fmla="*/ 39036 w 1395421"/>
              <a:gd name="connsiteY0" fmla="*/ 433087 h 1348001"/>
              <a:gd name="connsiteX1" fmla="*/ 1394480 w 1395421"/>
              <a:gd name="connsiteY1" fmla="*/ 708105 h 1348001"/>
              <a:gd name="connsiteX2" fmla="*/ 1338359 w 1395421"/>
              <a:gd name="connsiteY2" fmla="*/ 938826 h 1348001"/>
              <a:gd name="connsiteX3" fmla="*/ 0 w 1395421"/>
              <a:gd name="connsiteY3" fmla="*/ 784357 h 1348001"/>
              <a:gd name="connsiteX4" fmla="*/ 39036 w 1395421"/>
              <a:gd name="connsiteY4" fmla="*/ 433087 h 1348001"/>
              <a:gd name="connsiteX0" fmla="*/ 41940 w 1398325"/>
              <a:gd name="connsiteY0" fmla="*/ 433087 h 1348001"/>
              <a:gd name="connsiteX1" fmla="*/ 1397384 w 1398325"/>
              <a:gd name="connsiteY1" fmla="*/ 708105 h 1348001"/>
              <a:gd name="connsiteX2" fmla="*/ 1341263 w 1398325"/>
              <a:gd name="connsiteY2" fmla="*/ 938826 h 1348001"/>
              <a:gd name="connsiteX3" fmla="*/ 2904 w 1398325"/>
              <a:gd name="connsiteY3" fmla="*/ 784357 h 1348001"/>
              <a:gd name="connsiteX4" fmla="*/ 41940 w 1398325"/>
              <a:gd name="connsiteY4" fmla="*/ 433087 h 134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8325" h="1348001">
                <a:moveTo>
                  <a:pt x="41940" y="433087"/>
                </a:moveTo>
                <a:cubicBezTo>
                  <a:pt x="356074" y="-265149"/>
                  <a:pt x="1414477" y="-79963"/>
                  <a:pt x="1397384" y="708105"/>
                </a:cubicBezTo>
                <a:cubicBezTo>
                  <a:pt x="1401659" y="712808"/>
                  <a:pt x="1392780" y="808856"/>
                  <a:pt x="1341263" y="938826"/>
                </a:cubicBezTo>
                <a:cubicBezTo>
                  <a:pt x="1159695" y="1431081"/>
                  <a:pt x="216547" y="1589193"/>
                  <a:pt x="2904" y="784357"/>
                </a:cubicBezTo>
                <a:cubicBezTo>
                  <a:pt x="-6912" y="577148"/>
                  <a:pt x="8657" y="576976"/>
                  <a:pt x="41940" y="433087"/>
                </a:cubicBezTo>
                <a:close/>
              </a:path>
            </a:pathLst>
          </a:custGeom>
        </p:spPr>
        <p:txBody>
          <a:bodyPr/>
          <a:lstStyle>
            <a:lvl1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AT" dirty="0"/>
          </a:p>
        </p:txBody>
      </p:sp>
      <p:sp>
        <p:nvSpPr>
          <p:cNvPr id="27" name="Ellipse 26"/>
          <p:cNvSpPr/>
          <p:nvPr userDrawn="1"/>
        </p:nvSpPr>
        <p:spPr>
          <a:xfrm>
            <a:off x="813064" y="4804541"/>
            <a:ext cx="1427148" cy="1427148"/>
          </a:xfrm>
          <a:prstGeom prst="ellipse">
            <a:avLst/>
          </a:prstGeom>
          <a:noFill/>
          <a:ln w="57150" cmpd="dbl">
            <a:solidFill>
              <a:srgbClr val="0099FF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AT">
              <a:effectLst/>
            </a:endParaRPr>
          </a:p>
        </p:txBody>
      </p:sp>
      <p:sp>
        <p:nvSpPr>
          <p:cNvPr id="28" name="Bildplatzhalter 6"/>
          <p:cNvSpPr>
            <a:spLocks noGrp="1"/>
          </p:cNvSpPr>
          <p:nvPr>
            <p:ph type="pic" sz="quarter" idx="26"/>
          </p:nvPr>
        </p:nvSpPr>
        <p:spPr>
          <a:xfrm>
            <a:off x="849989" y="4841862"/>
            <a:ext cx="1350386" cy="1350392"/>
          </a:xfrm>
          <a:custGeom>
            <a:avLst/>
            <a:gdLst>
              <a:gd name="connsiteX0" fmla="*/ 0 w 1370013"/>
              <a:gd name="connsiteY0" fmla="*/ 0 h 1355725"/>
              <a:gd name="connsiteX1" fmla="*/ 1370013 w 1370013"/>
              <a:gd name="connsiteY1" fmla="*/ 0 h 1355725"/>
              <a:gd name="connsiteX2" fmla="*/ 1370013 w 1370013"/>
              <a:gd name="connsiteY2" fmla="*/ 1355725 h 1355725"/>
              <a:gd name="connsiteX3" fmla="*/ 0 w 1370013"/>
              <a:gd name="connsiteY3" fmla="*/ 1355725 h 1355725"/>
              <a:gd name="connsiteX4" fmla="*/ 0 w 1370013"/>
              <a:gd name="connsiteY4" fmla="*/ 0 h 1355725"/>
              <a:gd name="connsiteX0" fmla="*/ 0 w 1370013"/>
              <a:gd name="connsiteY0" fmla="*/ 0 h 1355725"/>
              <a:gd name="connsiteX1" fmla="*/ 1365250 w 1370013"/>
              <a:gd name="connsiteY1" fmla="*/ 723900 h 1355725"/>
              <a:gd name="connsiteX2" fmla="*/ 1370013 w 1370013"/>
              <a:gd name="connsiteY2" fmla="*/ 1355725 h 1355725"/>
              <a:gd name="connsiteX3" fmla="*/ 0 w 1370013"/>
              <a:gd name="connsiteY3" fmla="*/ 1355725 h 1355725"/>
              <a:gd name="connsiteX4" fmla="*/ 0 w 1370013"/>
              <a:gd name="connsiteY4" fmla="*/ 0 h 1355725"/>
              <a:gd name="connsiteX0" fmla="*/ 4763 w 1370013"/>
              <a:gd name="connsiteY0" fmla="*/ 0 h 641350"/>
              <a:gd name="connsiteX1" fmla="*/ 1365250 w 1370013"/>
              <a:gd name="connsiteY1" fmla="*/ 9525 h 641350"/>
              <a:gd name="connsiteX2" fmla="*/ 1370013 w 1370013"/>
              <a:gd name="connsiteY2" fmla="*/ 641350 h 641350"/>
              <a:gd name="connsiteX3" fmla="*/ 0 w 1370013"/>
              <a:gd name="connsiteY3" fmla="*/ 641350 h 641350"/>
              <a:gd name="connsiteX4" fmla="*/ 4763 w 1370013"/>
              <a:gd name="connsiteY4" fmla="*/ 0 h 641350"/>
              <a:gd name="connsiteX0" fmla="*/ 4763 w 1370013"/>
              <a:gd name="connsiteY0" fmla="*/ 595847 h 1237197"/>
              <a:gd name="connsiteX1" fmla="*/ 1365250 w 1370013"/>
              <a:gd name="connsiteY1" fmla="*/ 605372 h 1237197"/>
              <a:gd name="connsiteX2" fmla="*/ 1370013 w 1370013"/>
              <a:gd name="connsiteY2" fmla="*/ 1237197 h 1237197"/>
              <a:gd name="connsiteX3" fmla="*/ 0 w 1370013"/>
              <a:gd name="connsiteY3" fmla="*/ 1237197 h 1237197"/>
              <a:gd name="connsiteX4" fmla="*/ 4763 w 1370013"/>
              <a:gd name="connsiteY4" fmla="*/ 595847 h 1237197"/>
              <a:gd name="connsiteX0" fmla="*/ 4763 w 1370013"/>
              <a:gd name="connsiteY0" fmla="*/ 764647 h 1405997"/>
              <a:gd name="connsiteX1" fmla="*/ 1365250 w 1370013"/>
              <a:gd name="connsiteY1" fmla="*/ 774172 h 1405997"/>
              <a:gd name="connsiteX2" fmla="*/ 1370013 w 1370013"/>
              <a:gd name="connsiteY2" fmla="*/ 1405997 h 1405997"/>
              <a:gd name="connsiteX3" fmla="*/ 0 w 1370013"/>
              <a:gd name="connsiteY3" fmla="*/ 1405997 h 1405997"/>
              <a:gd name="connsiteX4" fmla="*/ 4763 w 1370013"/>
              <a:gd name="connsiteY4" fmla="*/ 764647 h 1405997"/>
              <a:gd name="connsiteX0" fmla="*/ 4763 w 1370013"/>
              <a:gd name="connsiteY0" fmla="*/ 716251 h 1357601"/>
              <a:gd name="connsiteX1" fmla="*/ 1365250 w 1370013"/>
              <a:gd name="connsiteY1" fmla="*/ 725776 h 1357601"/>
              <a:gd name="connsiteX2" fmla="*/ 1370013 w 1370013"/>
              <a:gd name="connsiteY2" fmla="*/ 1357601 h 1357601"/>
              <a:gd name="connsiteX3" fmla="*/ 0 w 1370013"/>
              <a:gd name="connsiteY3" fmla="*/ 1357601 h 1357601"/>
              <a:gd name="connsiteX4" fmla="*/ 4763 w 1370013"/>
              <a:gd name="connsiteY4" fmla="*/ 716251 h 1357601"/>
              <a:gd name="connsiteX0" fmla="*/ 211 w 1374986"/>
              <a:gd name="connsiteY0" fmla="*/ 716251 h 1357601"/>
              <a:gd name="connsiteX1" fmla="*/ 1370223 w 1374986"/>
              <a:gd name="connsiteY1" fmla="*/ 725776 h 1357601"/>
              <a:gd name="connsiteX2" fmla="*/ 1374986 w 1374986"/>
              <a:gd name="connsiteY2" fmla="*/ 1357601 h 1357601"/>
              <a:gd name="connsiteX3" fmla="*/ 4973 w 1374986"/>
              <a:gd name="connsiteY3" fmla="*/ 1357601 h 1357601"/>
              <a:gd name="connsiteX4" fmla="*/ 211 w 1374986"/>
              <a:gd name="connsiteY4" fmla="*/ 716251 h 1357601"/>
              <a:gd name="connsiteX0" fmla="*/ 0 w 1374775"/>
              <a:gd name="connsiteY0" fmla="*/ 716251 h 1357601"/>
              <a:gd name="connsiteX1" fmla="*/ 1370012 w 1374775"/>
              <a:gd name="connsiteY1" fmla="*/ 725776 h 1357601"/>
              <a:gd name="connsiteX2" fmla="*/ 1374775 w 1374775"/>
              <a:gd name="connsiteY2" fmla="*/ 1357601 h 1357601"/>
              <a:gd name="connsiteX3" fmla="*/ 4762 w 1374775"/>
              <a:gd name="connsiteY3" fmla="*/ 1357601 h 1357601"/>
              <a:gd name="connsiteX4" fmla="*/ 0 w 1374775"/>
              <a:gd name="connsiteY4" fmla="*/ 716251 h 1357601"/>
              <a:gd name="connsiteX0" fmla="*/ 0 w 1374775"/>
              <a:gd name="connsiteY0" fmla="*/ 686229 h 1327579"/>
              <a:gd name="connsiteX1" fmla="*/ 1370012 w 1374775"/>
              <a:gd name="connsiteY1" fmla="*/ 695754 h 1327579"/>
              <a:gd name="connsiteX2" fmla="*/ 1374775 w 1374775"/>
              <a:gd name="connsiteY2" fmla="*/ 1327579 h 1327579"/>
              <a:gd name="connsiteX3" fmla="*/ 4762 w 1374775"/>
              <a:gd name="connsiteY3" fmla="*/ 1327579 h 1327579"/>
              <a:gd name="connsiteX4" fmla="*/ 0 w 1374775"/>
              <a:gd name="connsiteY4" fmla="*/ 686229 h 1327579"/>
              <a:gd name="connsiteX0" fmla="*/ 0 w 1375266"/>
              <a:gd name="connsiteY0" fmla="*/ 707643 h 1348993"/>
              <a:gd name="connsiteX1" fmla="*/ 1370012 w 1375266"/>
              <a:gd name="connsiteY1" fmla="*/ 717168 h 1348993"/>
              <a:gd name="connsiteX2" fmla="*/ 1374775 w 1375266"/>
              <a:gd name="connsiteY2" fmla="*/ 1348993 h 1348993"/>
              <a:gd name="connsiteX3" fmla="*/ 4762 w 1375266"/>
              <a:gd name="connsiteY3" fmla="*/ 1348993 h 1348993"/>
              <a:gd name="connsiteX4" fmla="*/ 0 w 1375266"/>
              <a:gd name="connsiteY4" fmla="*/ 707643 h 1348993"/>
              <a:gd name="connsiteX0" fmla="*/ 0 w 1375506"/>
              <a:gd name="connsiteY0" fmla="*/ 713559 h 1354909"/>
              <a:gd name="connsiteX1" fmla="*/ 1370012 w 1375506"/>
              <a:gd name="connsiteY1" fmla="*/ 723084 h 1354909"/>
              <a:gd name="connsiteX2" fmla="*/ 1374775 w 1375506"/>
              <a:gd name="connsiteY2" fmla="*/ 1354909 h 1354909"/>
              <a:gd name="connsiteX3" fmla="*/ 4762 w 1375506"/>
              <a:gd name="connsiteY3" fmla="*/ 1354909 h 1354909"/>
              <a:gd name="connsiteX4" fmla="*/ 0 w 1375506"/>
              <a:gd name="connsiteY4" fmla="*/ 713559 h 1354909"/>
              <a:gd name="connsiteX0" fmla="*/ 0 w 1375468"/>
              <a:gd name="connsiteY0" fmla="*/ 697806 h 1339156"/>
              <a:gd name="connsiteX1" fmla="*/ 1370012 w 1375468"/>
              <a:gd name="connsiteY1" fmla="*/ 707331 h 1339156"/>
              <a:gd name="connsiteX2" fmla="*/ 1374775 w 1375468"/>
              <a:gd name="connsiteY2" fmla="*/ 1339156 h 1339156"/>
              <a:gd name="connsiteX3" fmla="*/ 4762 w 1375468"/>
              <a:gd name="connsiteY3" fmla="*/ 1339156 h 1339156"/>
              <a:gd name="connsiteX4" fmla="*/ 0 w 1375468"/>
              <a:gd name="connsiteY4" fmla="*/ 697806 h 1339156"/>
              <a:gd name="connsiteX0" fmla="*/ 0 w 1375430"/>
              <a:gd name="connsiteY0" fmla="*/ 705673 h 1347023"/>
              <a:gd name="connsiteX1" fmla="*/ 1370012 w 1375430"/>
              <a:gd name="connsiteY1" fmla="*/ 715198 h 1347023"/>
              <a:gd name="connsiteX2" fmla="*/ 1374775 w 1375430"/>
              <a:gd name="connsiteY2" fmla="*/ 1347023 h 1347023"/>
              <a:gd name="connsiteX3" fmla="*/ 4762 w 1375430"/>
              <a:gd name="connsiteY3" fmla="*/ 1347023 h 1347023"/>
              <a:gd name="connsiteX4" fmla="*/ 0 w 1375430"/>
              <a:gd name="connsiteY4" fmla="*/ 705673 h 1347023"/>
              <a:gd name="connsiteX0" fmla="*/ 0 w 1375929"/>
              <a:gd name="connsiteY0" fmla="*/ 701030 h 1342380"/>
              <a:gd name="connsiteX1" fmla="*/ 1370012 w 1375929"/>
              <a:gd name="connsiteY1" fmla="*/ 710555 h 1342380"/>
              <a:gd name="connsiteX2" fmla="*/ 1374775 w 1375929"/>
              <a:gd name="connsiteY2" fmla="*/ 1342380 h 1342380"/>
              <a:gd name="connsiteX3" fmla="*/ 4762 w 1375929"/>
              <a:gd name="connsiteY3" fmla="*/ 1342380 h 1342380"/>
              <a:gd name="connsiteX4" fmla="*/ 0 w 1375929"/>
              <a:gd name="connsiteY4" fmla="*/ 701030 h 1342380"/>
              <a:gd name="connsiteX0" fmla="*/ 0 w 1376120"/>
              <a:gd name="connsiteY0" fmla="*/ 701030 h 1342380"/>
              <a:gd name="connsiteX1" fmla="*/ 1370012 w 1376120"/>
              <a:gd name="connsiteY1" fmla="*/ 710555 h 1342380"/>
              <a:gd name="connsiteX2" fmla="*/ 1374775 w 1376120"/>
              <a:gd name="connsiteY2" fmla="*/ 1342380 h 1342380"/>
              <a:gd name="connsiteX3" fmla="*/ 4762 w 1376120"/>
              <a:gd name="connsiteY3" fmla="*/ 1342380 h 1342380"/>
              <a:gd name="connsiteX4" fmla="*/ 0 w 1376120"/>
              <a:gd name="connsiteY4" fmla="*/ 701030 h 1342380"/>
              <a:gd name="connsiteX0" fmla="*/ 0 w 1376120"/>
              <a:gd name="connsiteY0" fmla="*/ 701030 h 1342380"/>
              <a:gd name="connsiteX1" fmla="*/ 1370012 w 1376120"/>
              <a:gd name="connsiteY1" fmla="*/ 710555 h 1342380"/>
              <a:gd name="connsiteX2" fmla="*/ 1374775 w 1376120"/>
              <a:gd name="connsiteY2" fmla="*/ 1342380 h 1342380"/>
              <a:gd name="connsiteX3" fmla="*/ 4762 w 1376120"/>
              <a:gd name="connsiteY3" fmla="*/ 735226 h 1342380"/>
              <a:gd name="connsiteX4" fmla="*/ 0 w 1376120"/>
              <a:gd name="connsiteY4" fmla="*/ 701030 h 1342380"/>
              <a:gd name="connsiteX0" fmla="*/ 0 w 1376120"/>
              <a:gd name="connsiteY0" fmla="*/ 701030 h 1342380"/>
              <a:gd name="connsiteX1" fmla="*/ 1370012 w 1376120"/>
              <a:gd name="connsiteY1" fmla="*/ 710555 h 1342380"/>
              <a:gd name="connsiteX2" fmla="*/ 1374775 w 1376120"/>
              <a:gd name="connsiteY2" fmla="*/ 1342380 h 1342380"/>
              <a:gd name="connsiteX3" fmla="*/ 4762 w 1376120"/>
              <a:gd name="connsiteY3" fmla="*/ 735226 h 1342380"/>
              <a:gd name="connsiteX4" fmla="*/ 0 w 1376120"/>
              <a:gd name="connsiteY4" fmla="*/ 701030 h 1342380"/>
              <a:gd name="connsiteX0" fmla="*/ 0 w 1376120"/>
              <a:gd name="connsiteY0" fmla="*/ 701030 h 1093683"/>
              <a:gd name="connsiteX1" fmla="*/ 1370012 w 1376120"/>
              <a:gd name="connsiteY1" fmla="*/ 710555 h 1093683"/>
              <a:gd name="connsiteX2" fmla="*/ 1365119 w 1376120"/>
              <a:gd name="connsiteY2" fmla="*/ 744713 h 1093683"/>
              <a:gd name="connsiteX3" fmla="*/ 4762 w 1376120"/>
              <a:gd name="connsiteY3" fmla="*/ 735226 h 1093683"/>
              <a:gd name="connsiteX4" fmla="*/ 0 w 1376120"/>
              <a:gd name="connsiteY4" fmla="*/ 701030 h 1093683"/>
              <a:gd name="connsiteX0" fmla="*/ 0 w 1376120"/>
              <a:gd name="connsiteY0" fmla="*/ 701030 h 1329471"/>
              <a:gd name="connsiteX1" fmla="*/ 1370012 w 1376120"/>
              <a:gd name="connsiteY1" fmla="*/ 710555 h 1329471"/>
              <a:gd name="connsiteX2" fmla="*/ 1365119 w 1376120"/>
              <a:gd name="connsiteY2" fmla="*/ 744713 h 1329471"/>
              <a:gd name="connsiteX3" fmla="*/ 4762 w 1376120"/>
              <a:gd name="connsiteY3" fmla="*/ 735226 h 1329471"/>
              <a:gd name="connsiteX4" fmla="*/ 0 w 1376120"/>
              <a:gd name="connsiteY4" fmla="*/ 701030 h 1329471"/>
              <a:gd name="connsiteX0" fmla="*/ 0 w 1376120"/>
              <a:gd name="connsiteY0" fmla="*/ 701030 h 1325703"/>
              <a:gd name="connsiteX1" fmla="*/ 1370012 w 1376120"/>
              <a:gd name="connsiteY1" fmla="*/ 710555 h 1325703"/>
              <a:gd name="connsiteX2" fmla="*/ 1365119 w 1376120"/>
              <a:gd name="connsiteY2" fmla="*/ 744713 h 1325703"/>
              <a:gd name="connsiteX3" fmla="*/ 4762 w 1376120"/>
              <a:gd name="connsiteY3" fmla="*/ 735226 h 1325703"/>
              <a:gd name="connsiteX4" fmla="*/ 0 w 1376120"/>
              <a:gd name="connsiteY4" fmla="*/ 701030 h 1325703"/>
              <a:gd name="connsiteX0" fmla="*/ 4894 w 1371402"/>
              <a:gd name="connsiteY0" fmla="*/ 685781 h 1348401"/>
              <a:gd name="connsiteX1" fmla="*/ 1365250 w 1371402"/>
              <a:gd name="connsiteY1" fmla="*/ 733253 h 1348401"/>
              <a:gd name="connsiteX2" fmla="*/ 1360357 w 1371402"/>
              <a:gd name="connsiteY2" fmla="*/ 767411 h 1348401"/>
              <a:gd name="connsiteX3" fmla="*/ 0 w 1371402"/>
              <a:gd name="connsiteY3" fmla="*/ 757924 h 1348401"/>
              <a:gd name="connsiteX4" fmla="*/ 4894 w 1371402"/>
              <a:gd name="connsiteY4" fmla="*/ 685781 h 1348401"/>
              <a:gd name="connsiteX0" fmla="*/ 4894 w 1371007"/>
              <a:gd name="connsiteY0" fmla="*/ 628517 h 1291137"/>
              <a:gd name="connsiteX1" fmla="*/ 1365250 w 1371007"/>
              <a:gd name="connsiteY1" fmla="*/ 675989 h 1291137"/>
              <a:gd name="connsiteX2" fmla="*/ 1360357 w 1371007"/>
              <a:gd name="connsiteY2" fmla="*/ 710147 h 1291137"/>
              <a:gd name="connsiteX3" fmla="*/ 0 w 1371007"/>
              <a:gd name="connsiteY3" fmla="*/ 700660 h 1291137"/>
              <a:gd name="connsiteX4" fmla="*/ 4894 w 1371007"/>
              <a:gd name="connsiteY4" fmla="*/ 628517 h 1291137"/>
              <a:gd name="connsiteX0" fmla="*/ 4894 w 1369587"/>
              <a:gd name="connsiteY0" fmla="*/ 660164 h 1322784"/>
              <a:gd name="connsiteX1" fmla="*/ 1365250 w 1369587"/>
              <a:gd name="connsiteY1" fmla="*/ 707636 h 1322784"/>
              <a:gd name="connsiteX2" fmla="*/ 1360357 w 1369587"/>
              <a:gd name="connsiteY2" fmla="*/ 741794 h 1322784"/>
              <a:gd name="connsiteX3" fmla="*/ 0 w 1369587"/>
              <a:gd name="connsiteY3" fmla="*/ 732307 h 1322784"/>
              <a:gd name="connsiteX4" fmla="*/ 4894 w 1369587"/>
              <a:gd name="connsiteY4" fmla="*/ 660164 h 1322784"/>
              <a:gd name="connsiteX0" fmla="*/ 9722 w 1369602"/>
              <a:gd name="connsiteY0" fmla="*/ 660164 h 1322784"/>
              <a:gd name="connsiteX1" fmla="*/ 1365250 w 1369602"/>
              <a:gd name="connsiteY1" fmla="*/ 707636 h 1322784"/>
              <a:gd name="connsiteX2" fmla="*/ 1360357 w 1369602"/>
              <a:gd name="connsiteY2" fmla="*/ 741794 h 1322784"/>
              <a:gd name="connsiteX3" fmla="*/ 0 w 1369602"/>
              <a:gd name="connsiteY3" fmla="*/ 732307 h 1322784"/>
              <a:gd name="connsiteX4" fmla="*/ 9722 w 1369602"/>
              <a:gd name="connsiteY4" fmla="*/ 660164 h 1322784"/>
              <a:gd name="connsiteX0" fmla="*/ 66 w 1359946"/>
              <a:gd name="connsiteY0" fmla="*/ 660164 h 1322784"/>
              <a:gd name="connsiteX1" fmla="*/ 1355594 w 1359946"/>
              <a:gd name="connsiteY1" fmla="*/ 707636 h 1322784"/>
              <a:gd name="connsiteX2" fmla="*/ 1350701 w 1359946"/>
              <a:gd name="connsiteY2" fmla="*/ 741794 h 1322784"/>
              <a:gd name="connsiteX3" fmla="*/ 0 w 1359946"/>
              <a:gd name="connsiteY3" fmla="*/ 732307 h 1322784"/>
              <a:gd name="connsiteX4" fmla="*/ 66 w 1359946"/>
              <a:gd name="connsiteY4" fmla="*/ 660164 h 1322784"/>
              <a:gd name="connsiteX0" fmla="*/ 66 w 1388823"/>
              <a:gd name="connsiteY0" fmla="*/ 668497 h 1331117"/>
              <a:gd name="connsiteX1" fmla="*/ 1384561 w 1388823"/>
              <a:gd name="connsiteY1" fmla="*/ 696995 h 1331117"/>
              <a:gd name="connsiteX2" fmla="*/ 1350701 w 1388823"/>
              <a:gd name="connsiteY2" fmla="*/ 750127 h 1331117"/>
              <a:gd name="connsiteX3" fmla="*/ 0 w 1388823"/>
              <a:gd name="connsiteY3" fmla="*/ 740640 h 1331117"/>
              <a:gd name="connsiteX4" fmla="*/ 66 w 1388823"/>
              <a:gd name="connsiteY4" fmla="*/ 668497 h 1331117"/>
              <a:gd name="connsiteX0" fmla="*/ 66 w 1388823"/>
              <a:gd name="connsiteY0" fmla="*/ 668497 h 1423145"/>
              <a:gd name="connsiteX1" fmla="*/ 1384561 w 1388823"/>
              <a:gd name="connsiteY1" fmla="*/ 696995 h 1423145"/>
              <a:gd name="connsiteX2" fmla="*/ 1316907 w 1388823"/>
              <a:gd name="connsiteY2" fmla="*/ 935120 h 1423145"/>
              <a:gd name="connsiteX3" fmla="*/ 0 w 1388823"/>
              <a:gd name="connsiteY3" fmla="*/ 740640 h 1423145"/>
              <a:gd name="connsiteX4" fmla="*/ 66 w 1388823"/>
              <a:gd name="connsiteY4" fmla="*/ 668497 h 1423145"/>
              <a:gd name="connsiteX0" fmla="*/ 66 w 1388823"/>
              <a:gd name="connsiteY0" fmla="*/ 668497 h 1423145"/>
              <a:gd name="connsiteX1" fmla="*/ 1384561 w 1388823"/>
              <a:gd name="connsiteY1" fmla="*/ 696995 h 1423145"/>
              <a:gd name="connsiteX2" fmla="*/ 1316907 w 1388823"/>
              <a:gd name="connsiteY2" fmla="*/ 935120 h 1423145"/>
              <a:gd name="connsiteX3" fmla="*/ 0 w 1388823"/>
              <a:gd name="connsiteY3" fmla="*/ 740640 h 1423145"/>
              <a:gd name="connsiteX4" fmla="*/ 66 w 1388823"/>
              <a:gd name="connsiteY4" fmla="*/ 668497 h 1423145"/>
              <a:gd name="connsiteX0" fmla="*/ 66 w 1388823"/>
              <a:gd name="connsiteY0" fmla="*/ 668497 h 1425722"/>
              <a:gd name="connsiteX1" fmla="*/ 1384561 w 1388823"/>
              <a:gd name="connsiteY1" fmla="*/ 696995 h 1425722"/>
              <a:gd name="connsiteX2" fmla="*/ 1336218 w 1388823"/>
              <a:gd name="connsiteY2" fmla="*/ 939864 h 1425722"/>
              <a:gd name="connsiteX3" fmla="*/ 0 w 1388823"/>
              <a:gd name="connsiteY3" fmla="*/ 740640 h 1425722"/>
              <a:gd name="connsiteX4" fmla="*/ 66 w 1388823"/>
              <a:gd name="connsiteY4" fmla="*/ 668497 h 1425722"/>
              <a:gd name="connsiteX0" fmla="*/ 66 w 1388823"/>
              <a:gd name="connsiteY0" fmla="*/ 668497 h 1425722"/>
              <a:gd name="connsiteX1" fmla="*/ 1384561 w 1388823"/>
              <a:gd name="connsiteY1" fmla="*/ 696995 h 1425722"/>
              <a:gd name="connsiteX2" fmla="*/ 1336218 w 1388823"/>
              <a:gd name="connsiteY2" fmla="*/ 939864 h 1425722"/>
              <a:gd name="connsiteX3" fmla="*/ 0 w 1388823"/>
              <a:gd name="connsiteY3" fmla="*/ 740640 h 1425722"/>
              <a:gd name="connsiteX4" fmla="*/ 66 w 1388823"/>
              <a:gd name="connsiteY4" fmla="*/ 668497 h 1425722"/>
              <a:gd name="connsiteX0" fmla="*/ 66 w 1388823"/>
              <a:gd name="connsiteY0" fmla="*/ 668497 h 1357878"/>
              <a:gd name="connsiteX1" fmla="*/ 1384561 w 1388823"/>
              <a:gd name="connsiteY1" fmla="*/ 696995 h 1357878"/>
              <a:gd name="connsiteX2" fmla="*/ 1336218 w 1388823"/>
              <a:gd name="connsiteY2" fmla="*/ 939864 h 1357878"/>
              <a:gd name="connsiteX3" fmla="*/ 0 w 1388823"/>
              <a:gd name="connsiteY3" fmla="*/ 740640 h 1357878"/>
              <a:gd name="connsiteX4" fmla="*/ 66 w 1388823"/>
              <a:gd name="connsiteY4" fmla="*/ 668497 h 1357878"/>
              <a:gd name="connsiteX0" fmla="*/ 4893 w 1393650"/>
              <a:gd name="connsiteY0" fmla="*/ 668497 h 1394664"/>
              <a:gd name="connsiteX1" fmla="*/ 1389388 w 1393650"/>
              <a:gd name="connsiteY1" fmla="*/ 696995 h 1394664"/>
              <a:gd name="connsiteX2" fmla="*/ 1341045 w 1393650"/>
              <a:gd name="connsiteY2" fmla="*/ 939864 h 1394664"/>
              <a:gd name="connsiteX3" fmla="*/ 0 w 1393650"/>
              <a:gd name="connsiteY3" fmla="*/ 811792 h 1394664"/>
              <a:gd name="connsiteX4" fmla="*/ 4893 w 1393650"/>
              <a:gd name="connsiteY4" fmla="*/ 668497 h 1394664"/>
              <a:gd name="connsiteX0" fmla="*/ 4893 w 1393650"/>
              <a:gd name="connsiteY0" fmla="*/ 668497 h 1354383"/>
              <a:gd name="connsiteX1" fmla="*/ 1389388 w 1393650"/>
              <a:gd name="connsiteY1" fmla="*/ 696995 h 1354383"/>
              <a:gd name="connsiteX2" fmla="*/ 1341045 w 1393650"/>
              <a:gd name="connsiteY2" fmla="*/ 939864 h 1354383"/>
              <a:gd name="connsiteX3" fmla="*/ 0 w 1393650"/>
              <a:gd name="connsiteY3" fmla="*/ 811792 h 1354383"/>
              <a:gd name="connsiteX4" fmla="*/ 4893 w 1393650"/>
              <a:gd name="connsiteY4" fmla="*/ 668497 h 1354383"/>
              <a:gd name="connsiteX0" fmla="*/ 5330 w 1394087"/>
              <a:gd name="connsiteY0" fmla="*/ 668497 h 1354383"/>
              <a:gd name="connsiteX1" fmla="*/ 1389825 w 1394087"/>
              <a:gd name="connsiteY1" fmla="*/ 696995 h 1354383"/>
              <a:gd name="connsiteX2" fmla="*/ 1341482 w 1394087"/>
              <a:gd name="connsiteY2" fmla="*/ 939864 h 1354383"/>
              <a:gd name="connsiteX3" fmla="*/ 437 w 1394087"/>
              <a:gd name="connsiteY3" fmla="*/ 811792 h 1354383"/>
              <a:gd name="connsiteX4" fmla="*/ 5330 w 1394087"/>
              <a:gd name="connsiteY4" fmla="*/ 668497 h 1354383"/>
              <a:gd name="connsiteX0" fmla="*/ 0 w 1408010"/>
              <a:gd name="connsiteY0" fmla="*/ 654008 h 1373097"/>
              <a:gd name="connsiteX1" fmla="*/ 1403806 w 1408010"/>
              <a:gd name="connsiteY1" fmla="*/ 715709 h 1373097"/>
              <a:gd name="connsiteX2" fmla="*/ 1355463 w 1408010"/>
              <a:gd name="connsiteY2" fmla="*/ 958578 h 1373097"/>
              <a:gd name="connsiteX3" fmla="*/ 14418 w 1408010"/>
              <a:gd name="connsiteY3" fmla="*/ 830506 h 1373097"/>
              <a:gd name="connsiteX4" fmla="*/ 0 w 1408010"/>
              <a:gd name="connsiteY4" fmla="*/ 654008 h 1373097"/>
              <a:gd name="connsiteX0" fmla="*/ 0 w 1408096"/>
              <a:gd name="connsiteY0" fmla="*/ 640544 h 1359633"/>
              <a:gd name="connsiteX1" fmla="*/ 1403806 w 1408096"/>
              <a:gd name="connsiteY1" fmla="*/ 702245 h 1359633"/>
              <a:gd name="connsiteX2" fmla="*/ 1355463 w 1408096"/>
              <a:gd name="connsiteY2" fmla="*/ 945114 h 1359633"/>
              <a:gd name="connsiteX3" fmla="*/ 14418 w 1408096"/>
              <a:gd name="connsiteY3" fmla="*/ 817042 h 1359633"/>
              <a:gd name="connsiteX4" fmla="*/ 0 w 1408096"/>
              <a:gd name="connsiteY4" fmla="*/ 640544 h 1359633"/>
              <a:gd name="connsiteX0" fmla="*/ 0 w 1404766"/>
              <a:gd name="connsiteY0" fmla="*/ 643774 h 1362863"/>
              <a:gd name="connsiteX1" fmla="*/ 1403806 w 1404766"/>
              <a:gd name="connsiteY1" fmla="*/ 705475 h 1362863"/>
              <a:gd name="connsiteX2" fmla="*/ 1355463 w 1404766"/>
              <a:gd name="connsiteY2" fmla="*/ 948344 h 1362863"/>
              <a:gd name="connsiteX3" fmla="*/ 14418 w 1404766"/>
              <a:gd name="connsiteY3" fmla="*/ 820272 h 1362863"/>
              <a:gd name="connsiteX4" fmla="*/ 0 w 1404766"/>
              <a:gd name="connsiteY4" fmla="*/ 643774 h 1362863"/>
              <a:gd name="connsiteX0" fmla="*/ 0 w 1399638"/>
              <a:gd name="connsiteY0" fmla="*/ 642622 h 1361711"/>
              <a:gd name="connsiteX1" fmla="*/ 1398433 w 1399638"/>
              <a:gd name="connsiteY1" fmla="*/ 706963 h 1361711"/>
              <a:gd name="connsiteX2" fmla="*/ 1355463 w 1399638"/>
              <a:gd name="connsiteY2" fmla="*/ 947192 h 1361711"/>
              <a:gd name="connsiteX3" fmla="*/ 14418 w 1399638"/>
              <a:gd name="connsiteY3" fmla="*/ 819120 h 1361711"/>
              <a:gd name="connsiteX4" fmla="*/ 0 w 1399638"/>
              <a:gd name="connsiteY4" fmla="*/ 642622 h 1361711"/>
              <a:gd name="connsiteX0" fmla="*/ 0 w 1400799"/>
              <a:gd name="connsiteY0" fmla="*/ 642622 h 1361711"/>
              <a:gd name="connsiteX1" fmla="*/ 1398433 w 1400799"/>
              <a:gd name="connsiteY1" fmla="*/ 706963 h 1361711"/>
              <a:gd name="connsiteX2" fmla="*/ 1355463 w 1400799"/>
              <a:gd name="connsiteY2" fmla="*/ 947192 h 1361711"/>
              <a:gd name="connsiteX3" fmla="*/ 14418 w 1400799"/>
              <a:gd name="connsiteY3" fmla="*/ 819120 h 1361711"/>
              <a:gd name="connsiteX4" fmla="*/ 0 w 1400799"/>
              <a:gd name="connsiteY4" fmla="*/ 642622 h 1361711"/>
              <a:gd name="connsiteX0" fmla="*/ 0 w 1400799"/>
              <a:gd name="connsiteY0" fmla="*/ 642622 h 1360734"/>
              <a:gd name="connsiteX1" fmla="*/ 1398433 w 1400799"/>
              <a:gd name="connsiteY1" fmla="*/ 706963 h 1360734"/>
              <a:gd name="connsiteX2" fmla="*/ 1355463 w 1400799"/>
              <a:gd name="connsiteY2" fmla="*/ 947192 h 1360734"/>
              <a:gd name="connsiteX3" fmla="*/ 14418 w 1400799"/>
              <a:gd name="connsiteY3" fmla="*/ 819120 h 1360734"/>
              <a:gd name="connsiteX4" fmla="*/ 0 w 1400799"/>
              <a:gd name="connsiteY4" fmla="*/ 642622 h 1360734"/>
              <a:gd name="connsiteX0" fmla="*/ 0 w 1400799"/>
              <a:gd name="connsiteY0" fmla="*/ 642622 h 1347487"/>
              <a:gd name="connsiteX1" fmla="*/ 1398433 w 1400799"/>
              <a:gd name="connsiteY1" fmla="*/ 706963 h 1347487"/>
              <a:gd name="connsiteX2" fmla="*/ 1355463 w 1400799"/>
              <a:gd name="connsiteY2" fmla="*/ 947192 h 1347487"/>
              <a:gd name="connsiteX3" fmla="*/ 17104 w 1400799"/>
              <a:gd name="connsiteY3" fmla="*/ 792723 h 1347487"/>
              <a:gd name="connsiteX4" fmla="*/ 0 w 1400799"/>
              <a:gd name="connsiteY4" fmla="*/ 642622 h 1347487"/>
              <a:gd name="connsiteX0" fmla="*/ 0 w 1400799"/>
              <a:gd name="connsiteY0" fmla="*/ 642622 h 1356367"/>
              <a:gd name="connsiteX1" fmla="*/ 1398433 w 1400799"/>
              <a:gd name="connsiteY1" fmla="*/ 706963 h 1356367"/>
              <a:gd name="connsiteX2" fmla="*/ 1355463 w 1400799"/>
              <a:gd name="connsiteY2" fmla="*/ 947192 h 1356367"/>
              <a:gd name="connsiteX3" fmla="*/ 17104 w 1400799"/>
              <a:gd name="connsiteY3" fmla="*/ 792723 h 1356367"/>
              <a:gd name="connsiteX4" fmla="*/ 0 w 1400799"/>
              <a:gd name="connsiteY4" fmla="*/ 642622 h 1356367"/>
              <a:gd name="connsiteX0" fmla="*/ 12758 w 1384003"/>
              <a:gd name="connsiteY0" fmla="*/ 580396 h 1447249"/>
              <a:gd name="connsiteX1" fmla="*/ 1381637 w 1384003"/>
              <a:gd name="connsiteY1" fmla="*/ 797845 h 1447249"/>
              <a:gd name="connsiteX2" fmla="*/ 1338667 w 1384003"/>
              <a:gd name="connsiteY2" fmla="*/ 1038074 h 1447249"/>
              <a:gd name="connsiteX3" fmla="*/ 308 w 1384003"/>
              <a:gd name="connsiteY3" fmla="*/ 883605 h 1447249"/>
              <a:gd name="connsiteX4" fmla="*/ 12758 w 1384003"/>
              <a:gd name="connsiteY4" fmla="*/ 580396 h 1447249"/>
              <a:gd name="connsiteX0" fmla="*/ 13072 w 1384317"/>
              <a:gd name="connsiteY0" fmla="*/ 580396 h 1447249"/>
              <a:gd name="connsiteX1" fmla="*/ 1381951 w 1384317"/>
              <a:gd name="connsiteY1" fmla="*/ 797845 h 1447249"/>
              <a:gd name="connsiteX2" fmla="*/ 1338981 w 1384317"/>
              <a:gd name="connsiteY2" fmla="*/ 1038074 h 1447249"/>
              <a:gd name="connsiteX3" fmla="*/ 622 w 1384317"/>
              <a:gd name="connsiteY3" fmla="*/ 883605 h 1447249"/>
              <a:gd name="connsiteX4" fmla="*/ 13072 w 1384317"/>
              <a:gd name="connsiteY4" fmla="*/ 580396 h 1447249"/>
              <a:gd name="connsiteX0" fmla="*/ 26189 w 1383999"/>
              <a:gd name="connsiteY0" fmla="*/ 575445 h 1455497"/>
              <a:gd name="connsiteX1" fmla="*/ 1381633 w 1383999"/>
              <a:gd name="connsiteY1" fmla="*/ 806093 h 1455497"/>
              <a:gd name="connsiteX2" fmla="*/ 1338663 w 1383999"/>
              <a:gd name="connsiteY2" fmla="*/ 1046322 h 1455497"/>
              <a:gd name="connsiteX3" fmla="*/ 304 w 1383999"/>
              <a:gd name="connsiteY3" fmla="*/ 891853 h 1455497"/>
              <a:gd name="connsiteX4" fmla="*/ 26189 w 1383999"/>
              <a:gd name="connsiteY4" fmla="*/ 575445 h 1455497"/>
              <a:gd name="connsiteX0" fmla="*/ 26317 w 1384127"/>
              <a:gd name="connsiteY0" fmla="*/ 575445 h 1455497"/>
              <a:gd name="connsiteX1" fmla="*/ 1381761 w 1384127"/>
              <a:gd name="connsiteY1" fmla="*/ 806093 h 1455497"/>
              <a:gd name="connsiteX2" fmla="*/ 1338791 w 1384127"/>
              <a:gd name="connsiteY2" fmla="*/ 1046322 h 1455497"/>
              <a:gd name="connsiteX3" fmla="*/ 432 w 1384127"/>
              <a:gd name="connsiteY3" fmla="*/ 891853 h 1455497"/>
              <a:gd name="connsiteX4" fmla="*/ 26317 w 1384127"/>
              <a:gd name="connsiteY4" fmla="*/ 575445 h 1455497"/>
              <a:gd name="connsiteX0" fmla="*/ 26317 w 1384127"/>
              <a:gd name="connsiteY0" fmla="*/ 468636 h 1348688"/>
              <a:gd name="connsiteX1" fmla="*/ 1381761 w 1384127"/>
              <a:gd name="connsiteY1" fmla="*/ 699284 h 1348688"/>
              <a:gd name="connsiteX2" fmla="*/ 1338791 w 1384127"/>
              <a:gd name="connsiteY2" fmla="*/ 939513 h 1348688"/>
              <a:gd name="connsiteX3" fmla="*/ 432 w 1384127"/>
              <a:gd name="connsiteY3" fmla="*/ 785044 h 1348688"/>
              <a:gd name="connsiteX4" fmla="*/ 26317 w 1384127"/>
              <a:gd name="connsiteY4" fmla="*/ 468636 h 1348688"/>
              <a:gd name="connsiteX0" fmla="*/ 26317 w 1384127"/>
              <a:gd name="connsiteY0" fmla="*/ 474629 h 1354681"/>
              <a:gd name="connsiteX1" fmla="*/ 1381761 w 1384127"/>
              <a:gd name="connsiteY1" fmla="*/ 705277 h 1354681"/>
              <a:gd name="connsiteX2" fmla="*/ 1338791 w 1384127"/>
              <a:gd name="connsiteY2" fmla="*/ 945506 h 1354681"/>
              <a:gd name="connsiteX3" fmla="*/ 432 w 1384127"/>
              <a:gd name="connsiteY3" fmla="*/ 791037 h 1354681"/>
              <a:gd name="connsiteX4" fmla="*/ 26317 w 1384127"/>
              <a:gd name="connsiteY4" fmla="*/ 474629 h 1354681"/>
              <a:gd name="connsiteX0" fmla="*/ 26317 w 1384127"/>
              <a:gd name="connsiteY0" fmla="*/ 466934 h 1346986"/>
              <a:gd name="connsiteX1" fmla="*/ 1381761 w 1384127"/>
              <a:gd name="connsiteY1" fmla="*/ 697582 h 1346986"/>
              <a:gd name="connsiteX2" fmla="*/ 1338791 w 1384127"/>
              <a:gd name="connsiteY2" fmla="*/ 937811 h 1346986"/>
              <a:gd name="connsiteX3" fmla="*/ 432 w 1384127"/>
              <a:gd name="connsiteY3" fmla="*/ 783342 h 1346986"/>
              <a:gd name="connsiteX4" fmla="*/ 26317 w 1384127"/>
              <a:gd name="connsiteY4" fmla="*/ 466934 h 1346986"/>
              <a:gd name="connsiteX0" fmla="*/ 26317 w 1384127"/>
              <a:gd name="connsiteY0" fmla="*/ 463881 h 1343933"/>
              <a:gd name="connsiteX1" fmla="*/ 1381761 w 1384127"/>
              <a:gd name="connsiteY1" fmla="*/ 694529 h 1343933"/>
              <a:gd name="connsiteX2" fmla="*/ 1338791 w 1384127"/>
              <a:gd name="connsiteY2" fmla="*/ 934758 h 1343933"/>
              <a:gd name="connsiteX3" fmla="*/ 432 w 1384127"/>
              <a:gd name="connsiteY3" fmla="*/ 780289 h 1343933"/>
              <a:gd name="connsiteX4" fmla="*/ 26317 w 1384127"/>
              <a:gd name="connsiteY4" fmla="*/ 463881 h 1343933"/>
              <a:gd name="connsiteX0" fmla="*/ 26317 w 1395853"/>
              <a:gd name="connsiteY0" fmla="*/ 460078 h 1340130"/>
              <a:gd name="connsiteX1" fmla="*/ 1394912 w 1395853"/>
              <a:gd name="connsiteY1" fmla="*/ 700234 h 1340130"/>
              <a:gd name="connsiteX2" fmla="*/ 1338791 w 1395853"/>
              <a:gd name="connsiteY2" fmla="*/ 930955 h 1340130"/>
              <a:gd name="connsiteX3" fmla="*/ 432 w 1395853"/>
              <a:gd name="connsiteY3" fmla="*/ 776486 h 1340130"/>
              <a:gd name="connsiteX4" fmla="*/ 26317 w 1395853"/>
              <a:gd name="connsiteY4" fmla="*/ 460078 h 1340130"/>
              <a:gd name="connsiteX0" fmla="*/ 25885 w 1395421"/>
              <a:gd name="connsiteY0" fmla="*/ 460078 h 1340130"/>
              <a:gd name="connsiteX1" fmla="*/ 1394480 w 1395421"/>
              <a:gd name="connsiteY1" fmla="*/ 700234 h 1340130"/>
              <a:gd name="connsiteX2" fmla="*/ 1338359 w 1395421"/>
              <a:gd name="connsiteY2" fmla="*/ 930955 h 1340130"/>
              <a:gd name="connsiteX3" fmla="*/ 0 w 1395421"/>
              <a:gd name="connsiteY3" fmla="*/ 776486 h 1340130"/>
              <a:gd name="connsiteX4" fmla="*/ 25885 w 1395421"/>
              <a:gd name="connsiteY4" fmla="*/ 460078 h 1340130"/>
              <a:gd name="connsiteX0" fmla="*/ 42324 w 1395421"/>
              <a:gd name="connsiteY0" fmla="*/ 456316 h 1345876"/>
              <a:gd name="connsiteX1" fmla="*/ 1394480 w 1395421"/>
              <a:gd name="connsiteY1" fmla="*/ 705980 h 1345876"/>
              <a:gd name="connsiteX2" fmla="*/ 1338359 w 1395421"/>
              <a:gd name="connsiteY2" fmla="*/ 936701 h 1345876"/>
              <a:gd name="connsiteX3" fmla="*/ 0 w 1395421"/>
              <a:gd name="connsiteY3" fmla="*/ 782232 h 1345876"/>
              <a:gd name="connsiteX4" fmla="*/ 42324 w 1395421"/>
              <a:gd name="connsiteY4" fmla="*/ 456316 h 1345876"/>
              <a:gd name="connsiteX0" fmla="*/ 42324 w 1395421"/>
              <a:gd name="connsiteY0" fmla="*/ 460311 h 1349871"/>
              <a:gd name="connsiteX1" fmla="*/ 1394480 w 1395421"/>
              <a:gd name="connsiteY1" fmla="*/ 709975 h 1349871"/>
              <a:gd name="connsiteX2" fmla="*/ 1338359 w 1395421"/>
              <a:gd name="connsiteY2" fmla="*/ 940696 h 1349871"/>
              <a:gd name="connsiteX3" fmla="*/ 0 w 1395421"/>
              <a:gd name="connsiteY3" fmla="*/ 786227 h 1349871"/>
              <a:gd name="connsiteX4" fmla="*/ 42324 w 1395421"/>
              <a:gd name="connsiteY4" fmla="*/ 460311 h 1349871"/>
              <a:gd name="connsiteX0" fmla="*/ 42324 w 1395421"/>
              <a:gd name="connsiteY0" fmla="*/ 457648 h 1347208"/>
              <a:gd name="connsiteX1" fmla="*/ 1394480 w 1395421"/>
              <a:gd name="connsiteY1" fmla="*/ 707312 h 1347208"/>
              <a:gd name="connsiteX2" fmla="*/ 1338359 w 1395421"/>
              <a:gd name="connsiteY2" fmla="*/ 938033 h 1347208"/>
              <a:gd name="connsiteX3" fmla="*/ 0 w 1395421"/>
              <a:gd name="connsiteY3" fmla="*/ 783564 h 1347208"/>
              <a:gd name="connsiteX4" fmla="*/ 42324 w 1395421"/>
              <a:gd name="connsiteY4" fmla="*/ 457648 h 1347208"/>
              <a:gd name="connsiteX0" fmla="*/ 62050 w 1395421"/>
              <a:gd name="connsiteY0" fmla="*/ 455166 h 1351064"/>
              <a:gd name="connsiteX1" fmla="*/ 1394480 w 1395421"/>
              <a:gd name="connsiteY1" fmla="*/ 711168 h 1351064"/>
              <a:gd name="connsiteX2" fmla="*/ 1338359 w 1395421"/>
              <a:gd name="connsiteY2" fmla="*/ 941889 h 1351064"/>
              <a:gd name="connsiteX3" fmla="*/ 0 w 1395421"/>
              <a:gd name="connsiteY3" fmla="*/ 787420 h 1351064"/>
              <a:gd name="connsiteX4" fmla="*/ 62050 w 1395421"/>
              <a:gd name="connsiteY4" fmla="*/ 455166 h 1351064"/>
              <a:gd name="connsiteX0" fmla="*/ 62050 w 1395421"/>
              <a:gd name="connsiteY0" fmla="*/ 455166 h 1351064"/>
              <a:gd name="connsiteX1" fmla="*/ 1394480 w 1395421"/>
              <a:gd name="connsiteY1" fmla="*/ 711168 h 1351064"/>
              <a:gd name="connsiteX2" fmla="*/ 1338359 w 1395421"/>
              <a:gd name="connsiteY2" fmla="*/ 941889 h 1351064"/>
              <a:gd name="connsiteX3" fmla="*/ 0 w 1395421"/>
              <a:gd name="connsiteY3" fmla="*/ 787420 h 1351064"/>
              <a:gd name="connsiteX4" fmla="*/ 62050 w 1395421"/>
              <a:gd name="connsiteY4" fmla="*/ 455166 h 1351064"/>
              <a:gd name="connsiteX0" fmla="*/ 39036 w 1395421"/>
              <a:gd name="connsiteY0" fmla="*/ 447832 h 1362746"/>
              <a:gd name="connsiteX1" fmla="*/ 1394480 w 1395421"/>
              <a:gd name="connsiteY1" fmla="*/ 722850 h 1362746"/>
              <a:gd name="connsiteX2" fmla="*/ 1338359 w 1395421"/>
              <a:gd name="connsiteY2" fmla="*/ 953571 h 1362746"/>
              <a:gd name="connsiteX3" fmla="*/ 0 w 1395421"/>
              <a:gd name="connsiteY3" fmla="*/ 799102 h 1362746"/>
              <a:gd name="connsiteX4" fmla="*/ 39036 w 1395421"/>
              <a:gd name="connsiteY4" fmla="*/ 447832 h 1362746"/>
              <a:gd name="connsiteX0" fmla="*/ 39036 w 1395421"/>
              <a:gd name="connsiteY0" fmla="*/ 433087 h 1348001"/>
              <a:gd name="connsiteX1" fmla="*/ 1394480 w 1395421"/>
              <a:gd name="connsiteY1" fmla="*/ 708105 h 1348001"/>
              <a:gd name="connsiteX2" fmla="*/ 1338359 w 1395421"/>
              <a:gd name="connsiteY2" fmla="*/ 938826 h 1348001"/>
              <a:gd name="connsiteX3" fmla="*/ 0 w 1395421"/>
              <a:gd name="connsiteY3" fmla="*/ 784357 h 1348001"/>
              <a:gd name="connsiteX4" fmla="*/ 39036 w 1395421"/>
              <a:gd name="connsiteY4" fmla="*/ 433087 h 1348001"/>
              <a:gd name="connsiteX0" fmla="*/ 41940 w 1398325"/>
              <a:gd name="connsiteY0" fmla="*/ 433087 h 1348001"/>
              <a:gd name="connsiteX1" fmla="*/ 1397384 w 1398325"/>
              <a:gd name="connsiteY1" fmla="*/ 708105 h 1348001"/>
              <a:gd name="connsiteX2" fmla="*/ 1341263 w 1398325"/>
              <a:gd name="connsiteY2" fmla="*/ 938826 h 1348001"/>
              <a:gd name="connsiteX3" fmla="*/ 2904 w 1398325"/>
              <a:gd name="connsiteY3" fmla="*/ 784357 h 1348001"/>
              <a:gd name="connsiteX4" fmla="*/ 41940 w 1398325"/>
              <a:gd name="connsiteY4" fmla="*/ 433087 h 134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8325" h="1348001">
                <a:moveTo>
                  <a:pt x="41940" y="433087"/>
                </a:moveTo>
                <a:cubicBezTo>
                  <a:pt x="356074" y="-265149"/>
                  <a:pt x="1414477" y="-79963"/>
                  <a:pt x="1397384" y="708105"/>
                </a:cubicBezTo>
                <a:cubicBezTo>
                  <a:pt x="1401659" y="712808"/>
                  <a:pt x="1392780" y="808856"/>
                  <a:pt x="1341263" y="938826"/>
                </a:cubicBezTo>
                <a:cubicBezTo>
                  <a:pt x="1159695" y="1431081"/>
                  <a:pt x="216547" y="1589193"/>
                  <a:pt x="2904" y="784357"/>
                </a:cubicBezTo>
                <a:cubicBezTo>
                  <a:pt x="-6912" y="577148"/>
                  <a:pt x="8657" y="576976"/>
                  <a:pt x="41940" y="433087"/>
                </a:cubicBezTo>
                <a:close/>
              </a:path>
            </a:pathLst>
          </a:custGeom>
        </p:spPr>
        <p:txBody>
          <a:bodyPr/>
          <a:lstStyle>
            <a:lvl1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AT" dirty="0"/>
          </a:p>
        </p:txBody>
      </p:sp>
      <p:sp>
        <p:nvSpPr>
          <p:cNvPr id="29" name="Ellipse 28"/>
          <p:cNvSpPr/>
          <p:nvPr userDrawn="1"/>
        </p:nvSpPr>
        <p:spPr>
          <a:xfrm>
            <a:off x="6384915" y="1536731"/>
            <a:ext cx="1427148" cy="1427148"/>
          </a:xfrm>
          <a:prstGeom prst="ellipse">
            <a:avLst/>
          </a:prstGeom>
          <a:noFill/>
          <a:ln w="57150" cmpd="dbl">
            <a:solidFill>
              <a:srgbClr val="0099FF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AT">
              <a:effectLst/>
            </a:endParaRPr>
          </a:p>
        </p:txBody>
      </p:sp>
      <p:sp>
        <p:nvSpPr>
          <p:cNvPr id="30" name="Bildplatzhalter 6"/>
          <p:cNvSpPr>
            <a:spLocks noGrp="1"/>
          </p:cNvSpPr>
          <p:nvPr>
            <p:ph type="pic" sz="quarter" idx="27"/>
          </p:nvPr>
        </p:nvSpPr>
        <p:spPr>
          <a:xfrm>
            <a:off x="6421840" y="1574052"/>
            <a:ext cx="1350386" cy="1350392"/>
          </a:xfrm>
          <a:custGeom>
            <a:avLst/>
            <a:gdLst>
              <a:gd name="connsiteX0" fmla="*/ 0 w 1370013"/>
              <a:gd name="connsiteY0" fmla="*/ 0 h 1355725"/>
              <a:gd name="connsiteX1" fmla="*/ 1370013 w 1370013"/>
              <a:gd name="connsiteY1" fmla="*/ 0 h 1355725"/>
              <a:gd name="connsiteX2" fmla="*/ 1370013 w 1370013"/>
              <a:gd name="connsiteY2" fmla="*/ 1355725 h 1355725"/>
              <a:gd name="connsiteX3" fmla="*/ 0 w 1370013"/>
              <a:gd name="connsiteY3" fmla="*/ 1355725 h 1355725"/>
              <a:gd name="connsiteX4" fmla="*/ 0 w 1370013"/>
              <a:gd name="connsiteY4" fmla="*/ 0 h 1355725"/>
              <a:gd name="connsiteX0" fmla="*/ 0 w 1370013"/>
              <a:gd name="connsiteY0" fmla="*/ 0 h 1355725"/>
              <a:gd name="connsiteX1" fmla="*/ 1365250 w 1370013"/>
              <a:gd name="connsiteY1" fmla="*/ 723900 h 1355725"/>
              <a:gd name="connsiteX2" fmla="*/ 1370013 w 1370013"/>
              <a:gd name="connsiteY2" fmla="*/ 1355725 h 1355725"/>
              <a:gd name="connsiteX3" fmla="*/ 0 w 1370013"/>
              <a:gd name="connsiteY3" fmla="*/ 1355725 h 1355725"/>
              <a:gd name="connsiteX4" fmla="*/ 0 w 1370013"/>
              <a:gd name="connsiteY4" fmla="*/ 0 h 1355725"/>
              <a:gd name="connsiteX0" fmla="*/ 4763 w 1370013"/>
              <a:gd name="connsiteY0" fmla="*/ 0 h 641350"/>
              <a:gd name="connsiteX1" fmla="*/ 1365250 w 1370013"/>
              <a:gd name="connsiteY1" fmla="*/ 9525 h 641350"/>
              <a:gd name="connsiteX2" fmla="*/ 1370013 w 1370013"/>
              <a:gd name="connsiteY2" fmla="*/ 641350 h 641350"/>
              <a:gd name="connsiteX3" fmla="*/ 0 w 1370013"/>
              <a:gd name="connsiteY3" fmla="*/ 641350 h 641350"/>
              <a:gd name="connsiteX4" fmla="*/ 4763 w 1370013"/>
              <a:gd name="connsiteY4" fmla="*/ 0 h 641350"/>
              <a:gd name="connsiteX0" fmla="*/ 4763 w 1370013"/>
              <a:gd name="connsiteY0" fmla="*/ 595847 h 1237197"/>
              <a:gd name="connsiteX1" fmla="*/ 1365250 w 1370013"/>
              <a:gd name="connsiteY1" fmla="*/ 605372 h 1237197"/>
              <a:gd name="connsiteX2" fmla="*/ 1370013 w 1370013"/>
              <a:gd name="connsiteY2" fmla="*/ 1237197 h 1237197"/>
              <a:gd name="connsiteX3" fmla="*/ 0 w 1370013"/>
              <a:gd name="connsiteY3" fmla="*/ 1237197 h 1237197"/>
              <a:gd name="connsiteX4" fmla="*/ 4763 w 1370013"/>
              <a:gd name="connsiteY4" fmla="*/ 595847 h 1237197"/>
              <a:gd name="connsiteX0" fmla="*/ 4763 w 1370013"/>
              <a:gd name="connsiteY0" fmla="*/ 764647 h 1405997"/>
              <a:gd name="connsiteX1" fmla="*/ 1365250 w 1370013"/>
              <a:gd name="connsiteY1" fmla="*/ 774172 h 1405997"/>
              <a:gd name="connsiteX2" fmla="*/ 1370013 w 1370013"/>
              <a:gd name="connsiteY2" fmla="*/ 1405997 h 1405997"/>
              <a:gd name="connsiteX3" fmla="*/ 0 w 1370013"/>
              <a:gd name="connsiteY3" fmla="*/ 1405997 h 1405997"/>
              <a:gd name="connsiteX4" fmla="*/ 4763 w 1370013"/>
              <a:gd name="connsiteY4" fmla="*/ 764647 h 1405997"/>
              <a:gd name="connsiteX0" fmla="*/ 4763 w 1370013"/>
              <a:gd name="connsiteY0" fmla="*/ 716251 h 1357601"/>
              <a:gd name="connsiteX1" fmla="*/ 1365250 w 1370013"/>
              <a:gd name="connsiteY1" fmla="*/ 725776 h 1357601"/>
              <a:gd name="connsiteX2" fmla="*/ 1370013 w 1370013"/>
              <a:gd name="connsiteY2" fmla="*/ 1357601 h 1357601"/>
              <a:gd name="connsiteX3" fmla="*/ 0 w 1370013"/>
              <a:gd name="connsiteY3" fmla="*/ 1357601 h 1357601"/>
              <a:gd name="connsiteX4" fmla="*/ 4763 w 1370013"/>
              <a:gd name="connsiteY4" fmla="*/ 716251 h 1357601"/>
              <a:gd name="connsiteX0" fmla="*/ 211 w 1374986"/>
              <a:gd name="connsiteY0" fmla="*/ 716251 h 1357601"/>
              <a:gd name="connsiteX1" fmla="*/ 1370223 w 1374986"/>
              <a:gd name="connsiteY1" fmla="*/ 725776 h 1357601"/>
              <a:gd name="connsiteX2" fmla="*/ 1374986 w 1374986"/>
              <a:gd name="connsiteY2" fmla="*/ 1357601 h 1357601"/>
              <a:gd name="connsiteX3" fmla="*/ 4973 w 1374986"/>
              <a:gd name="connsiteY3" fmla="*/ 1357601 h 1357601"/>
              <a:gd name="connsiteX4" fmla="*/ 211 w 1374986"/>
              <a:gd name="connsiteY4" fmla="*/ 716251 h 1357601"/>
              <a:gd name="connsiteX0" fmla="*/ 0 w 1374775"/>
              <a:gd name="connsiteY0" fmla="*/ 716251 h 1357601"/>
              <a:gd name="connsiteX1" fmla="*/ 1370012 w 1374775"/>
              <a:gd name="connsiteY1" fmla="*/ 725776 h 1357601"/>
              <a:gd name="connsiteX2" fmla="*/ 1374775 w 1374775"/>
              <a:gd name="connsiteY2" fmla="*/ 1357601 h 1357601"/>
              <a:gd name="connsiteX3" fmla="*/ 4762 w 1374775"/>
              <a:gd name="connsiteY3" fmla="*/ 1357601 h 1357601"/>
              <a:gd name="connsiteX4" fmla="*/ 0 w 1374775"/>
              <a:gd name="connsiteY4" fmla="*/ 716251 h 1357601"/>
              <a:gd name="connsiteX0" fmla="*/ 0 w 1374775"/>
              <a:gd name="connsiteY0" fmla="*/ 686229 h 1327579"/>
              <a:gd name="connsiteX1" fmla="*/ 1370012 w 1374775"/>
              <a:gd name="connsiteY1" fmla="*/ 695754 h 1327579"/>
              <a:gd name="connsiteX2" fmla="*/ 1374775 w 1374775"/>
              <a:gd name="connsiteY2" fmla="*/ 1327579 h 1327579"/>
              <a:gd name="connsiteX3" fmla="*/ 4762 w 1374775"/>
              <a:gd name="connsiteY3" fmla="*/ 1327579 h 1327579"/>
              <a:gd name="connsiteX4" fmla="*/ 0 w 1374775"/>
              <a:gd name="connsiteY4" fmla="*/ 686229 h 1327579"/>
              <a:gd name="connsiteX0" fmla="*/ 0 w 1375266"/>
              <a:gd name="connsiteY0" fmla="*/ 707643 h 1348993"/>
              <a:gd name="connsiteX1" fmla="*/ 1370012 w 1375266"/>
              <a:gd name="connsiteY1" fmla="*/ 717168 h 1348993"/>
              <a:gd name="connsiteX2" fmla="*/ 1374775 w 1375266"/>
              <a:gd name="connsiteY2" fmla="*/ 1348993 h 1348993"/>
              <a:gd name="connsiteX3" fmla="*/ 4762 w 1375266"/>
              <a:gd name="connsiteY3" fmla="*/ 1348993 h 1348993"/>
              <a:gd name="connsiteX4" fmla="*/ 0 w 1375266"/>
              <a:gd name="connsiteY4" fmla="*/ 707643 h 1348993"/>
              <a:gd name="connsiteX0" fmla="*/ 0 w 1375506"/>
              <a:gd name="connsiteY0" fmla="*/ 713559 h 1354909"/>
              <a:gd name="connsiteX1" fmla="*/ 1370012 w 1375506"/>
              <a:gd name="connsiteY1" fmla="*/ 723084 h 1354909"/>
              <a:gd name="connsiteX2" fmla="*/ 1374775 w 1375506"/>
              <a:gd name="connsiteY2" fmla="*/ 1354909 h 1354909"/>
              <a:gd name="connsiteX3" fmla="*/ 4762 w 1375506"/>
              <a:gd name="connsiteY3" fmla="*/ 1354909 h 1354909"/>
              <a:gd name="connsiteX4" fmla="*/ 0 w 1375506"/>
              <a:gd name="connsiteY4" fmla="*/ 713559 h 1354909"/>
              <a:gd name="connsiteX0" fmla="*/ 0 w 1375468"/>
              <a:gd name="connsiteY0" fmla="*/ 697806 h 1339156"/>
              <a:gd name="connsiteX1" fmla="*/ 1370012 w 1375468"/>
              <a:gd name="connsiteY1" fmla="*/ 707331 h 1339156"/>
              <a:gd name="connsiteX2" fmla="*/ 1374775 w 1375468"/>
              <a:gd name="connsiteY2" fmla="*/ 1339156 h 1339156"/>
              <a:gd name="connsiteX3" fmla="*/ 4762 w 1375468"/>
              <a:gd name="connsiteY3" fmla="*/ 1339156 h 1339156"/>
              <a:gd name="connsiteX4" fmla="*/ 0 w 1375468"/>
              <a:gd name="connsiteY4" fmla="*/ 697806 h 1339156"/>
              <a:gd name="connsiteX0" fmla="*/ 0 w 1375430"/>
              <a:gd name="connsiteY0" fmla="*/ 705673 h 1347023"/>
              <a:gd name="connsiteX1" fmla="*/ 1370012 w 1375430"/>
              <a:gd name="connsiteY1" fmla="*/ 715198 h 1347023"/>
              <a:gd name="connsiteX2" fmla="*/ 1374775 w 1375430"/>
              <a:gd name="connsiteY2" fmla="*/ 1347023 h 1347023"/>
              <a:gd name="connsiteX3" fmla="*/ 4762 w 1375430"/>
              <a:gd name="connsiteY3" fmla="*/ 1347023 h 1347023"/>
              <a:gd name="connsiteX4" fmla="*/ 0 w 1375430"/>
              <a:gd name="connsiteY4" fmla="*/ 705673 h 1347023"/>
              <a:gd name="connsiteX0" fmla="*/ 0 w 1375929"/>
              <a:gd name="connsiteY0" fmla="*/ 701030 h 1342380"/>
              <a:gd name="connsiteX1" fmla="*/ 1370012 w 1375929"/>
              <a:gd name="connsiteY1" fmla="*/ 710555 h 1342380"/>
              <a:gd name="connsiteX2" fmla="*/ 1374775 w 1375929"/>
              <a:gd name="connsiteY2" fmla="*/ 1342380 h 1342380"/>
              <a:gd name="connsiteX3" fmla="*/ 4762 w 1375929"/>
              <a:gd name="connsiteY3" fmla="*/ 1342380 h 1342380"/>
              <a:gd name="connsiteX4" fmla="*/ 0 w 1375929"/>
              <a:gd name="connsiteY4" fmla="*/ 701030 h 1342380"/>
              <a:gd name="connsiteX0" fmla="*/ 0 w 1376120"/>
              <a:gd name="connsiteY0" fmla="*/ 701030 h 1342380"/>
              <a:gd name="connsiteX1" fmla="*/ 1370012 w 1376120"/>
              <a:gd name="connsiteY1" fmla="*/ 710555 h 1342380"/>
              <a:gd name="connsiteX2" fmla="*/ 1374775 w 1376120"/>
              <a:gd name="connsiteY2" fmla="*/ 1342380 h 1342380"/>
              <a:gd name="connsiteX3" fmla="*/ 4762 w 1376120"/>
              <a:gd name="connsiteY3" fmla="*/ 1342380 h 1342380"/>
              <a:gd name="connsiteX4" fmla="*/ 0 w 1376120"/>
              <a:gd name="connsiteY4" fmla="*/ 701030 h 1342380"/>
              <a:gd name="connsiteX0" fmla="*/ 0 w 1376120"/>
              <a:gd name="connsiteY0" fmla="*/ 701030 h 1342380"/>
              <a:gd name="connsiteX1" fmla="*/ 1370012 w 1376120"/>
              <a:gd name="connsiteY1" fmla="*/ 710555 h 1342380"/>
              <a:gd name="connsiteX2" fmla="*/ 1374775 w 1376120"/>
              <a:gd name="connsiteY2" fmla="*/ 1342380 h 1342380"/>
              <a:gd name="connsiteX3" fmla="*/ 4762 w 1376120"/>
              <a:gd name="connsiteY3" fmla="*/ 735226 h 1342380"/>
              <a:gd name="connsiteX4" fmla="*/ 0 w 1376120"/>
              <a:gd name="connsiteY4" fmla="*/ 701030 h 1342380"/>
              <a:gd name="connsiteX0" fmla="*/ 0 w 1376120"/>
              <a:gd name="connsiteY0" fmla="*/ 701030 h 1342380"/>
              <a:gd name="connsiteX1" fmla="*/ 1370012 w 1376120"/>
              <a:gd name="connsiteY1" fmla="*/ 710555 h 1342380"/>
              <a:gd name="connsiteX2" fmla="*/ 1374775 w 1376120"/>
              <a:gd name="connsiteY2" fmla="*/ 1342380 h 1342380"/>
              <a:gd name="connsiteX3" fmla="*/ 4762 w 1376120"/>
              <a:gd name="connsiteY3" fmla="*/ 735226 h 1342380"/>
              <a:gd name="connsiteX4" fmla="*/ 0 w 1376120"/>
              <a:gd name="connsiteY4" fmla="*/ 701030 h 1342380"/>
              <a:gd name="connsiteX0" fmla="*/ 0 w 1376120"/>
              <a:gd name="connsiteY0" fmla="*/ 701030 h 1093683"/>
              <a:gd name="connsiteX1" fmla="*/ 1370012 w 1376120"/>
              <a:gd name="connsiteY1" fmla="*/ 710555 h 1093683"/>
              <a:gd name="connsiteX2" fmla="*/ 1365119 w 1376120"/>
              <a:gd name="connsiteY2" fmla="*/ 744713 h 1093683"/>
              <a:gd name="connsiteX3" fmla="*/ 4762 w 1376120"/>
              <a:gd name="connsiteY3" fmla="*/ 735226 h 1093683"/>
              <a:gd name="connsiteX4" fmla="*/ 0 w 1376120"/>
              <a:gd name="connsiteY4" fmla="*/ 701030 h 1093683"/>
              <a:gd name="connsiteX0" fmla="*/ 0 w 1376120"/>
              <a:gd name="connsiteY0" fmla="*/ 701030 h 1329471"/>
              <a:gd name="connsiteX1" fmla="*/ 1370012 w 1376120"/>
              <a:gd name="connsiteY1" fmla="*/ 710555 h 1329471"/>
              <a:gd name="connsiteX2" fmla="*/ 1365119 w 1376120"/>
              <a:gd name="connsiteY2" fmla="*/ 744713 h 1329471"/>
              <a:gd name="connsiteX3" fmla="*/ 4762 w 1376120"/>
              <a:gd name="connsiteY3" fmla="*/ 735226 h 1329471"/>
              <a:gd name="connsiteX4" fmla="*/ 0 w 1376120"/>
              <a:gd name="connsiteY4" fmla="*/ 701030 h 1329471"/>
              <a:gd name="connsiteX0" fmla="*/ 0 w 1376120"/>
              <a:gd name="connsiteY0" fmla="*/ 701030 h 1325703"/>
              <a:gd name="connsiteX1" fmla="*/ 1370012 w 1376120"/>
              <a:gd name="connsiteY1" fmla="*/ 710555 h 1325703"/>
              <a:gd name="connsiteX2" fmla="*/ 1365119 w 1376120"/>
              <a:gd name="connsiteY2" fmla="*/ 744713 h 1325703"/>
              <a:gd name="connsiteX3" fmla="*/ 4762 w 1376120"/>
              <a:gd name="connsiteY3" fmla="*/ 735226 h 1325703"/>
              <a:gd name="connsiteX4" fmla="*/ 0 w 1376120"/>
              <a:gd name="connsiteY4" fmla="*/ 701030 h 1325703"/>
              <a:gd name="connsiteX0" fmla="*/ 4894 w 1371402"/>
              <a:gd name="connsiteY0" fmla="*/ 685781 h 1348401"/>
              <a:gd name="connsiteX1" fmla="*/ 1365250 w 1371402"/>
              <a:gd name="connsiteY1" fmla="*/ 733253 h 1348401"/>
              <a:gd name="connsiteX2" fmla="*/ 1360357 w 1371402"/>
              <a:gd name="connsiteY2" fmla="*/ 767411 h 1348401"/>
              <a:gd name="connsiteX3" fmla="*/ 0 w 1371402"/>
              <a:gd name="connsiteY3" fmla="*/ 757924 h 1348401"/>
              <a:gd name="connsiteX4" fmla="*/ 4894 w 1371402"/>
              <a:gd name="connsiteY4" fmla="*/ 685781 h 1348401"/>
              <a:gd name="connsiteX0" fmla="*/ 4894 w 1371007"/>
              <a:gd name="connsiteY0" fmla="*/ 628517 h 1291137"/>
              <a:gd name="connsiteX1" fmla="*/ 1365250 w 1371007"/>
              <a:gd name="connsiteY1" fmla="*/ 675989 h 1291137"/>
              <a:gd name="connsiteX2" fmla="*/ 1360357 w 1371007"/>
              <a:gd name="connsiteY2" fmla="*/ 710147 h 1291137"/>
              <a:gd name="connsiteX3" fmla="*/ 0 w 1371007"/>
              <a:gd name="connsiteY3" fmla="*/ 700660 h 1291137"/>
              <a:gd name="connsiteX4" fmla="*/ 4894 w 1371007"/>
              <a:gd name="connsiteY4" fmla="*/ 628517 h 1291137"/>
              <a:gd name="connsiteX0" fmla="*/ 4894 w 1369587"/>
              <a:gd name="connsiteY0" fmla="*/ 660164 h 1322784"/>
              <a:gd name="connsiteX1" fmla="*/ 1365250 w 1369587"/>
              <a:gd name="connsiteY1" fmla="*/ 707636 h 1322784"/>
              <a:gd name="connsiteX2" fmla="*/ 1360357 w 1369587"/>
              <a:gd name="connsiteY2" fmla="*/ 741794 h 1322784"/>
              <a:gd name="connsiteX3" fmla="*/ 0 w 1369587"/>
              <a:gd name="connsiteY3" fmla="*/ 732307 h 1322784"/>
              <a:gd name="connsiteX4" fmla="*/ 4894 w 1369587"/>
              <a:gd name="connsiteY4" fmla="*/ 660164 h 1322784"/>
              <a:gd name="connsiteX0" fmla="*/ 9722 w 1369602"/>
              <a:gd name="connsiteY0" fmla="*/ 660164 h 1322784"/>
              <a:gd name="connsiteX1" fmla="*/ 1365250 w 1369602"/>
              <a:gd name="connsiteY1" fmla="*/ 707636 h 1322784"/>
              <a:gd name="connsiteX2" fmla="*/ 1360357 w 1369602"/>
              <a:gd name="connsiteY2" fmla="*/ 741794 h 1322784"/>
              <a:gd name="connsiteX3" fmla="*/ 0 w 1369602"/>
              <a:gd name="connsiteY3" fmla="*/ 732307 h 1322784"/>
              <a:gd name="connsiteX4" fmla="*/ 9722 w 1369602"/>
              <a:gd name="connsiteY4" fmla="*/ 660164 h 1322784"/>
              <a:gd name="connsiteX0" fmla="*/ 66 w 1359946"/>
              <a:gd name="connsiteY0" fmla="*/ 660164 h 1322784"/>
              <a:gd name="connsiteX1" fmla="*/ 1355594 w 1359946"/>
              <a:gd name="connsiteY1" fmla="*/ 707636 h 1322784"/>
              <a:gd name="connsiteX2" fmla="*/ 1350701 w 1359946"/>
              <a:gd name="connsiteY2" fmla="*/ 741794 h 1322784"/>
              <a:gd name="connsiteX3" fmla="*/ 0 w 1359946"/>
              <a:gd name="connsiteY3" fmla="*/ 732307 h 1322784"/>
              <a:gd name="connsiteX4" fmla="*/ 66 w 1359946"/>
              <a:gd name="connsiteY4" fmla="*/ 660164 h 1322784"/>
              <a:gd name="connsiteX0" fmla="*/ 66 w 1388823"/>
              <a:gd name="connsiteY0" fmla="*/ 668497 h 1331117"/>
              <a:gd name="connsiteX1" fmla="*/ 1384561 w 1388823"/>
              <a:gd name="connsiteY1" fmla="*/ 696995 h 1331117"/>
              <a:gd name="connsiteX2" fmla="*/ 1350701 w 1388823"/>
              <a:gd name="connsiteY2" fmla="*/ 750127 h 1331117"/>
              <a:gd name="connsiteX3" fmla="*/ 0 w 1388823"/>
              <a:gd name="connsiteY3" fmla="*/ 740640 h 1331117"/>
              <a:gd name="connsiteX4" fmla="*/ 66 w 1388823"/>
              <a:gd name="connsiteY4" fmla="*/ 668497 h 1331117"/>
              <a:gd name="connsiteX0" fmla="*/ 66 w 1388823"/>
              <a:gd name="connsiteY0" fmla="*/ 668497 h 1423145"/>
              <a:gd name="connsiteX1" fmla="*/ 1384561 w 1388823"/>
              <a:gd name="connsiteY1" fmla="*/ 696995 h 1423145"/>
              <a:gd name="connsiteX2" fmla="*/ 1316907 w 1388823"/>
              <a:gd name="connsiteY2" fmla="*/ 935120 h 1423145"/>
              <a:gd name="connsiteX3" fmla="*/ 0 w 1388823"/>
              <a:gd name="connsiteY3" fmla="*/ 740640 h 1423145"/>
              <a:gd name="connsiteX4" fmla="*/ 66 w 1388823"/>
              <a:gd name="connsiteY4" fmla="*/ 668497 h 1423145"/>
              <a:gd name="connsiteX0" fmla="*/ 66 w 1388823"/>
              <a:gd name="connsiteY0" fmla="*/ 668497 h 1423145"/>
              <a:gd name="connsiteX1" fmla="*/ 1384561 w 1388823"/>
              <a:gd name="connsiteY1" fmla="*/ 696995 h 1423145"/>
              <a:gd name="connsiteX2" fmla="*/ 1316907 w 1388823"/>
              <a:gd name="connsiteY2" fmla="*/ 935120 h 1423145"/>
              <a:gd name="connsiteX3" fmla="*/ 0 w 1388823"/>
              <a:gd name="connsiteY3" fmla="*/ 740640 h 1423145"/>
              <a:gd name="connsiteX4" fmla="*/ 66 w 1388823"/>
              <a:gd name="connsiteY4" fmla="*/ 668497 h 1423145"/>
              <a:gd name="connsiteX0" fmla="*/ 66 w 1388823"/>
              <a:gd name="connsiteY0" fmla="*/ 668497 h 1425722"/>
              <a:gd name="connsiteX1" fmla="*/ 1384561 w 1388823"/>
              <a:gd name="connsiteY1" fmla="*/ 696995 h 1425722"/>
              <a:gd name="connsiteX2" fmla="*/ 1336218 w 1388823"/>
              <a:gd name="connsiteY2" fmla="*/ 939864 h 1425722"/>
              <a:gd name="connsiteX3" fmla="*/ 0 w 1388823"/>
              <a:gd name="connsiteY3" fmla="*/ 740640 h 1425722"/>
              <a:gd name="connsiteX4" fmla="*/ 66 w 1388823"/>
              <a:gd name="connsiteY4" fmla="*/ 668497 h 1425722"/>
              <a:gd name="connsiteX0" fmla="*/ 66 w 1388823"/>
              <a:gd name="connsiteY0" fmla="*/ 668497 h 1425722"/>
              <a:gd name="connsiteX1" fmla="*/ 1384561 w 1388823"/>
              <a:gd name="connsiteY1" fmla="*/ 696995 h 1425722"/>
              <a:gd name="connsiteX2" fmla="*/ 1336218 w 1388823"/>
              <a:gd name="connsiteY2" fmla="*/ 939864 h 1425722"/>
              <a:gd name="connsiteX3" fmla="*/ 0 w 1388823"/>
              <a:gd name="connsiteY3" fmla="*/ 740640 h 1425722"/>
              <a:gd name="connsiteX4" fmla="*/ 66 w 1388823"/>
              <a:gd name="connsiteY4" fmla="*/ 668497 h 1425722"/>
              <a:gd name="connsiteX0" fmla="*/ 66 w 1388823"/>
              <a:gd name="connsiteY0" fmla="*/ 668497 h 1357878"/>
              <a:gd name="connsiteX1" fmla="*/ 1384561 w 1388823"/>
              <a:gd name="connsiteY1" fmla="*/ 696995 h 1357878"/>
              <a:gd name="connsiteX2" fmla="*/ 1336218 w 1388823"/>
              <a:gd name="connsiteY2" fmla="*/ 939864 h 1357878"/>
              <a:gd name="connsiteX3" fmla="*/ 0 w 1388823"/>
              <a:gd name="connsiteY3" fmla="*/ 740640 h 1357878"/>
              <a:gd name="connsiteX4" fmla="*/ 66 w 1388823"/>
              <a:gd name="connsiteY4" fmla="*/ 668497 h 1357878"/>
              <a:gd name="connsiteX0" fmla="*/ 4893 w 1393650"/>
              <a:gd name="connsiteY0" fmla="*/ 668497 h 1394664"/>
              <a:gd name="connsiteX1" fmla="*/ 1389388 w 1393650"/>
              <a:gd name="connsiteY1" fmla="*/ 696995 h 1394664"/>
              <a:gd name="connsiteX2" fmla="*/ 1341045 w 1393650"/>
              <a:gd name="connsiteY2" fmla="*/ 939864 h 1394664"/>
              <a:gd name="connsiteX3" fmla="*/ 0 w 1393650"/>
              <a:gd name="connsiteY3" fmla="*/ 811792 h 1394664"/>
              <a:gd name="connsiteX4" fmla="*/ 4893 w 1393650"/>
              <a:gd name="connsiteY4" fmla="*/ 668497 h 1394664"/>
              <a:gd name="connsiteX0" fmla="*/ 4893 w 1393650"/>
              <a:gd name="connsiteY0" fmla="*/ 668497 h 1354383"/>
              <a:gd name="connsiteX1" fmla="*/ 1389388 w 1393650"/>
              <a:gd name="connsiteY1" fmla="*/ 696995 h 1354383"/>
              <a:gd name="connsiteX2" fmla="*/ 1341045 w 1393650"/>
              <a:gd name="connsiteY2" fmla="*/ 939864 h 1354383"/>
              <a:gd name="connsiteX3" fmla="*/ 0 w 1393650"/>
              <a:gd name="connsiteY3" fmla="*/ 811792 h 1354383"/>
              <a:gd name="connsiteX4" fmla="*/ 4893 w 1393650"/>
              <a:gd name="connsiteY4" fmla="*/ 668497 h 1354383"/>
              <a:gd name="connsiteX0" fmla="*/ 5330 w 1394087"/>
              <a:gd name="connsiteY0" fmla="*/ 668497 h 1354383"/>
              <a:gd name="connsiteX1" fmla="*/ 1389825 w 1394087"/>
              <a:gd name="connsiteY1" fmla="*/ 696995 h 1354383"/>
              <a:gd name="connsiteX2" fmla="*/ 1341482 w 1394087"/>
              <a:gd name="connsiteY2" fmla="*/ 939864 h 1354383"/>
              <a:gd name="connsiteX3" fmla="*/ 437 w 1394087"/>
              <a:gd name="connsiteY3" fmla="*/ 811792 h 1354383"/>
              <a:gd name="connsiteX4" fmla="*/ 5330 w 1394087"/>
              <a:gd name="connsiteY4" fmla="*/ 668497 h 1354383"/>
              <a:gd name="connsiteX0" fmla="*/ 0 w 1408010"/>
              <a:gd name="connsiteY0" fmla="*/ 654008 h 1373097"/>
              <a:gd name="connsiteX1" fmla="*/ 1403806 w 1408010"/>
              <a:gd name="connsiteY1" fmla="*/ 715709 h 1373097"/>
              <a:gd name="connsiteX2" fmla="*/ 1355463 w 1408010"/>
              <a:gd name="connsiteY2" fmla="*/ 958578 h 1373097"/>
              <a:gd name="connsiteX3" fmla="*/ 14418 w 1408010"/>
              <a:gd name="connsiteY3" fmla="*/ 830506 h 1373097"/>
              <a:gd name="connsiteX4" fmla="*/ 0 w 1408010"/>
              <a:gd name="connsiteY4" fmla="*/ 654008 h 1373097"/>
              <a:gd name="connsiteX0" fmla="*/ 0 w 1408096"/>
              <a:gd name="connsiteY0" fmla="*/ 640544 h 1359633"/>
              <a:gd name="connsiteX1" fmla="*/ 1403806 w 1408096"/>
              <a:gd name="connsiteY1" fmla="*/ 702245 h 1359633"/>
              <a:gd name="connsiteX2" fmla="*/ 1355463 w 1408096"/>
              <a:gd name="connsiteY2" fmla="*/ 945114 h 1359633"/>
              <a:gd name="connsiteX3" fmla="*/ 14418 w 1408096"/>
              <a:gd name="connsiteY3" fmla="*/ 817042 h 1359633"/>
              <a:gd name="connsiteX4" fmla="*/ 0 w 1408096"/>
              <a:gd name="connsiteY4" fmla="*/ 640544 h 1359633"/>
              <a:gd name="connsiteX0" fmla="*/ 0 w 1404766"/>
              <a:gd name="connsiteY0" fmla="*/ 643774 h 1362863"/>
              <a:gd name="connsiteX1" fmla="*/ 1403806 w 1404766"/>
              <a:gd name="connsiteY1" fmla="*/ 705475 h 1362863"/>
              <a:gd name="connsiteX2" fmla="*/ 1355463 w 1404766"/>
              <a:gd name="connsiteY2" fmla="*/ 948344 h 1362863"/>
              <a:gd name="connsiteX3" fmla="*/ 14418 w 1404766"/>
              <a:gd name="connsiteY3" fmla="*/ 820272 h 1362863"/>
              <a:gd name="connsiteX4" fmla="*/ 0 w 1404766"/>
              <a:gd name="connsiteY4" fmla="*/ 643774 h 1362863"/>
              <a:gd name="connsiteX0" fmla="*/ 0 w 1399638"/>
              <a:gd name="connsiteY0" fmla="*/ 642622 h 1361711"/>
              <a:gd name="connsiteX1" fmla="*/ 1398433 w 1399638"/>
              <a:gd name="connsiteY1" fmla="*/ 706963 h 1361711"/>
              <a:gd name="connsiteX2" fmla="*/ 1355463 w 1399638"/>
              <a:gd name="connsiteY2" fmla="*/ 947192 h 1361711"/>
              <a:gd name="connsiteX3" fmla="*/ 14418 w 1399638"/>
              <a:gd name="connsiteY3" fmla="*/ 819120 h 1361711"/>
              <a:gd name="connsiteX4" fmla="*/ 0 w 1399638"/>
              <a:gd name="connsiteY4" fmla="*/ 642622 h 1361711"/>
              <a:gd name="connsiteX0" fmla="*/ 0 w 1400799"/>
              <a:gd name="connsiteY0" fmla="*/ 642622 h 1361711"/>
              <a:gd name="connsiteX1" fmla="*/ 1398433 w 1400799"/>
              <a:gd name="connsiteY1" fmla="*/ 706963 h 1361711"/>
              <a:gd name="connsiteX2" fmla="*/ 1355463 w 1400799"/>
              <a:gd name="connsiteY2" fmla="*/ 947192 h 1361711"/>
              <a:gd name="connsiteX3" fmla="*/ 14418 w 1400799"/>
              <a:gd name="connsiteY3" fmla="*/ 819120 h 1361711"/>
              <a:gd name="connsiteX4" fmla="*/ 0 w 1400799"/>
              <a:gd name="connsiteY4" fmla="*/ 642622 h 1361711"/>
              <a:gd name="connsiteX0" fmla="*/ 0 w 1400799"/>
              <a:gd name="connsiteY0" fmla="*/ 642622 h 1360734"/>
              <a:gd name="connsiteX1" fmla="*/ 1398433 w 1400799"/>
              <a:gd name="connsiteY1" fmla="*/ 706963 h 1360734"/>
              <a:gd name="connsiteX2" fmla="*/ 1355463 w 1400799"/>
              <a:gd name="connsiteY2" fmla="*/ 947192 h 1360734"/>
              <a:gd name="connsiteX3" fmla="*/ 14418 w 1400799"/>
              <a:gd name="connsiteY3" fmla="*/ 819120 h 1360734"/>
              <a:gd name="connsiteX4" fmla="*/ 0 w 1400799"/>
              <a:gd name="connsiteY4" fmla="*/ 642622 h 1360734"/>
              <a:gd name="connsiteX0" fmla="*/ 0 w 1400799"/>
              <a:gd name="connsiteY0" fmla="*/ 642622 h 1347487"/>
              <a:gd name="connsiteX1" fmla="*/ 1398433 w 1400799"/>
              <a:gd name="connsiteY1" fmla="*/ 706963 h 1347487"/>
              <a:gd name="connsiteX2" fmla="*/ 1355463 w 1400799"/>
              <a:gd name="connsiteY2" fmla="*/ 947192 h 1347487"/>
              <a:gd name="connsiteX3" fmla="*/ 17104 w 1400799"/>
              <a:gd name="connsiteY3" fmla="*/ 792723 h 1347487"/>
              <a:gd name="connsiteX4" fmla="*/ 0 w 1400799"/>
              <a:gd name="connsiteY4" fmla="*/ 642622 h 1347487"/>
              <a:gd name="connsiteX0" fmla="*/ 0 w 1400799"/>
              <a:gd name="connsiteY0" fmla="*/ 642622 h 1356367"/>
              <a:gd name="connsiteX1" fmla="*/ 1398433 w 1400799"/>
              <a:gd name="connsiteY1" fmla="*/ 706963 h 1356367"/>
              <a:gd name="connsiteX2" fmla="*/ 1355463 w 1400799"/>
              <a:gd name="connsiteY2" fmla="*/ 947192 h 1356367"/>
              <a:gd name="connsiteX3" fmla="*/ 17104 w 1400799"/>
              <a:gd name="connsiteY3" fmla="*/ 792723 h 1356367"/>
              <a:gd name="connsiteX4" fmla="*/ 0 w 1400799"/>
              <a:gd name="connsiteY4" fmla="*/ 642622 h 1356367"/>
              <a:gd name="connsiteX0" fmla="*/ 12758 w 1384003"/>
              <a:gd name="connsiteY0" fmla="*/ 580396 h 1447249"/>
              <a:gd name="connsiteX1" fmla="*/ 1381637 w 1384003"/>
              <a:gd name="connsiteY1" fmla="*/ 797845 h 1447249"/>
              <a:gd name="connsiteX2" fmla="*/ 1338667 w 1384003"/>
              <a:gd name="connsiteY2" fmla="*/ 1038074 h 1447249"/>
              <a:gd name="connsiteX3" fmla="*/ 308 w 1384003"/>
              <a:gd name="connsiteY3" fmla="*/ 883605 h 1447249"/>
              <a:gd name="connsiteX4" fmla="*/ 12758 w 1384003"/>
              <a:gd name="connsiteY4" fmla="*/ 580396 h 1447249"/>
              <a:gd name="connsiteX0" fmla="*/ 13072 w 1384317"/>
              <a:gd name="connsiteY0" fmla="*/ 580396 h 1447249"/>
              <a:gd name="connsiteX1" fmla="*/ 1381951 w 1384317"/>
              <a:gd name="connsiteY1" fmla="*/ 797845 h 1447249"/>
              <a:gd name="connsiteX2" fmla="*/ 1338981 w 1384317"/>
              <a:gd name="connsiteY2" fmla="*/ 1038074 h 1447249"/>
              <a:gd name="connsiteX3" fmla="*/ 622 w 1384317"/>
              <a:gd name="connsiteY3" fmla="*/ 883605 h 1447249"/>
              <a:gd name="connsiteX4" fmla="*/ 13072 w 1384317"/>
              <a:gd name="connsiteY4" fmla="*/ 580396 h 1447249"/>
              <a:gd name="connsiteX0" fmla="*/ 26189 w 1383999"/>
              <a:gd name="connsiteY0" fmla="*/ 575445 h 1455497"/>
              <a:gd name="connsiteX1" fmla="*/ 1381633 w 1383999"/>
              <a:gd name="connsiteY1" fmla="*/ 806093 h 1455497"/>
              <a:gd name="connsiteX2" fmla="*/ 1338663 w 1383999"/>
              <a:gd name="connsiteY2" fmla="*/ 1046322 h 1455497"/>
              <a:gd name="connsiteX3" fmla="*/ 304 w 1383999"/>
              <a:gd name="connsiteY3" fmla="*/ 891853 h 1455497"/>
              <a:gd name="connsiteX4" fmla="*/ 26189 w 1383999"/>
              <a:gd name="connsiteY4" fmla="*/ 575445 h 1455497"/>
              <a:gd name="connsiteX0" fmla="*/ 26317 w 1384127"/>
              <a:gd name="connsiteY0" fmla="*/ 575445 h 1455497"/>
              <a:gd name="connsiteX1" fmla="*/ 1381761 w 1384127"/>
              <a:gd name="connsiteY1" fmla="*/ 806093 h 1455497"/>
              <a:gd name="connsiteX2" fmla="*/ 1338791 w 1384127"/>
              <a:gd name="connsiteY2" fmla="*/ 1046322 h 1455497"/>
              <a:gd name="connsiteX3" fmla="*/ 432 w 1384127"/>
              <a:gd name="connsiteY3" fmla="*/ 891853 h 1455497"/>
              <a:gd name="connsiteX4" fmla="*/ 26317 w 1384127"/>
              <a:gd name="connsiteY4" fmla="*/ 575445 h 1455497"/>
              <a:gd name="connsiteX0" fmla="*/ 26317 w 1384127"/>
              <a:gd name="connsiteY0" fmla="*/ 468636 h 1348688"/>
              <a:gd name="connsiteX1" fmla="*/ 1381761 w 1384127"/>
              <a:gd name="connsiteY1" fmla="*/ 699284 h 1348688"/>
              <a:gd name="connsiteX2" fmla="*/ 1338791 w 1384127"/>
              <a:gd name="connsiteY2" fmla="*/ 939513 h 1348688"/>
              <a:gd name="connsiteX3" fmla="*/ 432 w 1384127"/>
              <a:gd name="connsiteY3" fmla="*/ 785044 h 1348688"/>
              <a:gd name="connsiteX4" fmla="*/ 26317 w 1384127"/>
              <a:gd name="connsiteY4" fmla="*/ 468636 h 1348688"/>
              <a:gd name="connsiteX0" fmla="*/ 26317 w 1384127"/>
              <a:gd name="connsiteY0" fmla="*/ 474629 h 1354681"/>
              <a:gd name="connsiteX1" fmla="*/ 1381761 w 1384127"/>
              <a:gd name="connsiteY1" fmla="*/ 705277 h 1354681"/>
              <a:gd name="connsiteX2" fmla="*/ 1338791 w 1384127"/>
              <a:gd name="connsiteY2" fmla="*/ 945506 h 1354681"/>
              <a:gd name="connsiteX3" fmla="*/ 432 w 1384127"/>
              <a:gd name="connsiteY3" fmla="*/ 791037 h 1354681"/>
              <a:gd name="connsiteX4" fmla="*/ 26317 w 1384127"/>
              <a:gd name="connsiteY4" fmla="*/ 474629 h 1354681"/>
              <a:gd name="connsiteX0" fmla="*/ 26317 w 1384127"/>
              <a:gd name="connsiteY0" fmla="*/ 466934 h 1346986"/>
              <a:gd name="connsiteX1" fmla="*/ 1381761 w 1384127"/>
              <a:gd name="connsiteY1" fmla="*/ 697582 h 1346986"/>
              <a:gd name="connsiteX2" fmla="*/ 1338791 w 1384127"/>
              <a:gd name="connsiteY2" fmla="*/ 937811 h 1346986"/>
              <a:gd name="connsiteX3" fmla="*/ 432 w 1384127"/>
              <a:gd name="connsiteY3" fmla="*/ 783342 h 1346986"/>
              <a:gd name="connsiteX4" fmla="*/ 26317 w 1384127"/>
              <a:gd name="connsiteY4" fmla="*/ 466934 h 1346986"/>
              <a:gd name="connsiteX0" fmla="*/ 26317 w 1384127"/>
              <a:gd name="connsiteY0" fmla="*/ 463881 h 1343933"/>
              <a:gd name="connsiteX1" fmla="*/ 1381761 w 1384127"/>
              <a:gd name="connsiteY1" fmla="*/ 694529 h 1343933"/>
              <a:gd name="connsiteX2" fmla="*/ 1338791 w 1384127"/>
              <a:gd name="connsiteY2" fmla="*/ 934758 h 1343933"/>
              <a:gd name="connsiteX3" fmla="*/ 432 w 1384127"/>
              <a:gd name="connsiteY3" fmla="*/ 780289 h 1343933"/>
              <a:gd name="connsiteX4" fmla="*/ 26317 w 1384127"/>
              <a:gd name="connsiteY4" fmla="*/ 463881 h 1343933"/>
              <a:gd name="connsiteX0" fmla="*/ 26317 w 1395853"/>
              <a:gd name="connsiteY0" fmla="*/ 460078 h 1340130"/>
              <a:gd name="connsiteX1" fmla="*/ 1394912 w 1395853"/>
              <a:gd name="connsiteY1" fmla="*/ 700234 h 1340130"/>
              <a:gd name="connsiteX2" fmla="*/ 1338791 w 1395853"/>
              <a:gd name="connsiteY2" fmla="*/ 930955 h 1340130"/>
              <a:gd name="connsiteX3" fmla="*/ 432 w 1395853"/>
              <a:gd name="connsiteY3" fmla="*/ 776486 h 1340130"/>
              <a:gd name="connsiteX4" fmla="*/ 26317 w 1395853"/>
              <a:gd name="connsiteY4" fmla="*/ 460078 h 1340130"/>
              <a:gd name="connsiteX0" fmla="*/ 25885 w 1395421"/>
              <a:gd name="connsiteY0" fmla="*/ 460078 h 1340130"/>
              <a:gd name="connsiteX1" fmla="*/ 1394480 w 1395421"/>
              <a:gd name="connsiteY1" fmla="*/ 700234 h 1340130"/>
              <a:gd name="connsiteX2" fmla="*/ 1338359 w 1395421"/>
              <a:gd name="connsiteY2" fmla="*/ 930955 h 1340130"/>
              <a:gd name="connsiteX3" fmla="*/ 0 w 1395421"/>
              <a:gd name="connsiteY3" fmla="*/ 776486 h 1340130"/>
              <a:gd name="connsiteX4" fmla="*/ 25885 w 1395421"/>
              <a:gd name="connsiteY4" fmla="*/ 460078 h 1340130"/>
              <a:gd name="connsiteX0" fmla="*/ 42324 w 1395421"/>
              <a:gd name="connsiteY0" fmla="*/ 456316 h 1345876"/>
              <a:gd name="connsiteX1" fmla="*/ 1394480 w 1395421"/>
              <a:gd name="connsiteY1" fmla="*/ 705980 h 1345876"/>
              <a:gd name="connsiteX2" fmla="*/ 1338359 w 1395421"/>
              <a:gd name="connsiteY2" fmla="*/ 936701 h 1345876"/>
              <a:gd name="connsiteX3" fmla="*/ 0 w 1395421"/>
              <a:gd name="connsiteY3" fmla="*/ 782232 h 1345876"/>
              <a:gd name="connsiteX4" fmla="*/ 42324 w 1395421"/>
              <a:gd name="connsiteY4" fmla="*/ 456316 h 1345876"/>
              <a:gd name="connsiteX0" fmla="*/ 42324 w 1395421"/>
              <a:gd name="connsiteY0" fmla="*/ 460311 h 1349871"/>
              <a:gd name="connsiteX1" fmla="*/ 1394480 w 1395421"/>
              <a:gd name="connsiteY1" fmla="*/ 709975 h 1349871"/>
              <a:gd name="connsiteX2" fmla="*/ 1338359 w 1395421"/>
              <a:gd name="connsiteY2" fmla="*/ 940696 h 1349871"/>
              <a:gd name="connsiteX3" fmla="*/ 0 w 1395421"/>
              <a:gd name="connsiteY3" fmla="*/ 786227 h 1349871"/>
              <a:gd name="connsiteX4" fmla="*/ 42324 w 1395421"/>
              <a:gd name="connsiteY4" fmla="*/ 460311 h 1349871"/>
              <a:gd name="connsiteX0" fmla="*/ 42324 w 1395421"/>
              <a:gd name="connsiteY0" fmla="*/ 457648 h 1347208"/>
              <a:gd name="connsiteX1" fmla="*/ 1394480 w 1395421"/>
              <a:gd name="connsiteY1" fmla="*/ 707312 h 1347208"/>
              <a:gd name="connsiteX2" fmla="*/ 1338359 w 1395421"/>
              <a:gd name="connsiteY2" fmla="*/ 938033 h 1347208"/>
              <a:gd name="connsiteX3" fmla="*/ 0 w 1395421"/>
              <a:gd name="connsiteY3" fmla="*/ 783564 h 1347208"/>
              <a:gd name="connsiteX4" fmla="*/ 42324 w 1395421"/>
              <a:gd name="connsiteY4" fmla="*/ 457648 h 1347208"/>
              <a:gd name="connsiteX0" fmla="*/ 62050 w 1395421"/>
              <a:gd name="connsiteY0" fmla="*/ 455166 h 1351064"/>
              <a:gd name="connsiteX1" fmla="*/ 1394480 w 1395421"/>
              <a:gd name="connsiteY1" fmla="*/ 711168 h 1351064"/>
              <a:gd name="connsiteX2" fmla="*/ 1338359 w 1395421"/>
              <a:gd name="connsiteY2" fmla="*/ 941889 h 1351064"/>
              <a:gd name="connsiteX3" fmla="*/ 0 w 1395421"/>
              <a:gd name="connsiteY3" fmla="*/ 787420 h 1351064"/>
              <a:gd name="connsiteX4" fmla="*/ 62050 w 1395421"/>
              <a:gd name="connsiteY4" fmla="*/ 455166 h 1351064"/>
              <a:gd name="connsiteX0" fmla="*/ 62050 w 1395421"/>
              <a:gd name="connsiteY0" fmla="*/ 455166 h 1351064"/>
              <a:gd name="connsiteX1" fmla="*/ 1394480 w 1395421"/>
              <a:gd name="connsiteY1" fmla="*/ 711168 h 1351064"/>
              <a:gd name="connsiteX2" fmla="*/ 1338359 w 1395421"/>
              <a:gd name="connsiteY2" fmla="*/ 941889 h 1351064"/>
              <a:gd name="connsiteX3" fmla="*/ 0 w 1395421"/>
              <a:gd name="connsiteY3" fmla="*/ 787420 h 1351064"/>
              <a:gd name="connsiteX4" fmla="*/ 62050 w 1395421"/>
              <a:gd name="connsiteY4" fmla="*/ 455166 h 1351064"/>
              <a:gd name="connsiteX0" fmla="*/ 39036 w 1395421"/>
              <a:gd name="connsiteY0" fmla="*/ 447832 h 1362746"/>
              <a:gd name="connsiteX1" fmla="*/ 1394480 w 1395421"/>
              <a:gd name="connsiteY1" fmla="*/ 722850 h 1362746"/>
              <a:gd name="connsiteX2" fmla="*/ 1338359 w 1395421"/>
              <a:gd name="connsiteY2" fmla="*/ 953571 h 1362746"/>
              <a:gd name="connsiteX3" fmla="*/ 0 w 1395421"/>
              <a:gd name="connsiteY3" fmla="*/ 799102 h 1362746"/>
              <a:gd name="connsiteX4" fmla="*/ 39036 w 1395421"/>
              <a:gd name="connsiteY4" fmla="*/ 447832 h 1362746"/>
              <a:gd name="connsiteX0" fmla="*/ 39036 w 1395421"/>
              <a:gd name="connsiteY0" fmla="*/ 433087 h 1348001"/>
              <a:gd name="connsiteX1" fmla="*/ 1394480 w 1395421"/>
              <a:gd name="connsiteY1" fmla="*/ 708105 h 1348001"/>
              <a:gd name="connsiteX2" fmla="*/ 1338359 w 1395421"/>
              <a:gd name="connsiteY2" fmla="*/ 938826 h 1348001"/>
              <a:gd name="connsiteX3" fmla="*/ 0 w 1395421"/>
              <a:gd name="connsiteY3" fmla="*/ 784357 h 1348001"/>
              <a:gd name="connsiteX4" fmla="*/ 39036 w 1395421"/>
              <a:gd name="connsiteY4" fmla="*/ 433087 h 1348001"/>
              <a:gd name="connsiteX0" fmla="*/ 41940 w 1398325"/>
              <a:gd name="connsiteY0" fmla="*/ 433087 h 1348001"/>
              <a:gd name="connsiteX1" fmla="*/ 1397384 w 1398325"/>
              <a:gd name="connsiteY1" fmla="*/ 708105 h 1348001"/>
              <a:gd name="connsiteX2" fmla="*/ 1341263 w 1398325"/>
              <a:gd name="connsiteY2" fmla="*/ 938826 h 1348001"/>
              <a:gd name="connsiteX3" fmla="*/ 2904 w 1398325"/>
              <a:gd name="connsiteY3" fmla="*/ 784357 h 1348001"/>
              <a:gd name="connsiteX4" fmla="*/ 41940 w 1398325"/>
              <a:gd name="connsiteY4" fmla="*/ 433087 h 134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8325" h="1348001">
                <a:moveTo>
                  <a:pt x="41940" y="433087"/>
                </a:moveTo>
                <a:cubicBezTo>
                  <a:pt x="356074" y="-265149"/>
                  <a:pt x="1414477" y="-79963"/>
                  <a:pt x="1397384" y="708105"/>
                </a:cubicBezTo>
                <a:cubicBezTo>
                  <a:pt x="1401659" y="712808"/>
                  <a:pt x="1392780" y="808856"/>
                  <a:pt x="1341263" y="938826"/>
                </a:cubicBezTo>
                <a:cubicBezTo>
                  <a:pt x="1159695" y="1431081"/>
                  <a:pt x="216547" y="1589193"/>
                  <a:pt x="2904" y="784357"/>
                </a:cubicBezTo>
                <a:cubicBezTo>
                  <a:pt x="-6912" y="577148"/>
                  <a:pt x="8657" y="576976"/>
                  <a:pt x="41940" y="433087"/>
                </a:cubicBezTo>
                <a:close/>
              </a:path>
            </a:pathLst>
          </a:custGeom>
        </p:spPr>
        <p:txBody>
          <a:bodyPr/>
          <a:lstStyle>
            <a:lvl1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AT" dirty="0"/>
          </a:p>
        </p:txBody>
      </p:sp>
      <p:sp>
        <p:nvSpPr>
          <p:cNvPr id="39" name="Ellipse 38"/>
          <p:cNvSpPr/>
          <p:nvPr userDrawn="1"/>
        </p:nvSpPr>
        <p:spPr>
          <a:xfrm>
            <a:off x="6421840" y="3180412"/>
            <a:ext cx="1427148" cy="1427148"/>
          </a:xfrm>
          <a:prstGeom prst="ellipse">
            <a:avLst/>
          </a:prstGeom>
          <a:noFill/>
          <a:ln w="57150" cmpd="dbl">
            <a:solidFill>
              <a:srgbClr val="0099FF"/>
            </a:solidFill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de-AT">
              <a:effectLst/>
            </a:endParaRPr>
          </a:p>
        </p:txBody>
      </p:sp>
      <p:sp>
        <p:nvSpPr>
          <p:cNvPr id="40" name="Bildplatzhalter 6"/>
          <p:cNvSpPr>
            <a:spLocks noGrp="1"/>
          </p:cNvSpPr>
          <p:nvPr>
            <p:ph type="pic" sz="quarter" idx="28"/>
          </p:nvPr>
        </p:nvSpPr>
        <p:spPr>
          <a:xfrm>
            <a:off x="6458765" y="3217733"/>
            <a:ext cx="1350386" cy="1350392"/>
          </a:xfrm>
          <a:custGeom>
            <a:avLst/>
            <a:gdLst>
              <a:gd name="connsiteX0" fmla="*/ 0 w 1370013"/>
              <a:gd name="connsiteY0" fmla="*/ 0 h 1355725"/>
              <a:gd name="connsiteX1" fmla="*/ 1370013 w 1370013"/>
              <a:gd name="connsiteY1" fmla="*/ 0 h 1355725"/>
              <a:gd name="connsiteX2" fmla="*/ 1370013 w 1370013"/>
              <a:gd name="connsiteY2" fmla="*/ 1355725 h 1355725"/>
              <a:gd name="connsiteX3" fmla="*/ 0 w 1370013"/>
              <a:gd name="connsiteY3" fmla="*/ 1355725 h 1355725"/>
              <a:gd name="connsiteX4" fmla="*/ 0 w 1370013"/>
              <a:gd name="connsiteY4" fmla="*/ 0 h 1355725"/>
              <a:gd name="connsiteX0" fmla="*/ 0 w 1370013"/>
              <a:gd name="connsiteY0" fmla="*/ 0 h 1355725"/>
              <a:gd name="connsiteX1" fmla="*/ 1365250 w 1370013"/>
              <a:gd name="connsiteY1" fmla="*/ 723900 h 1355725"/>
              <a:gd name="connsiteX2" fmla="*/ 1370013 w 1370013"/>
              <a:gd name="connsiteY2" fmla="*/ 1355725 h 1355725"/>
              <a:gd name="connsiteX3" fmla="*/ 0 w 1370013"/>
              <a:gd name="connsiteY3" fmla="*/ 1355725 h 1355725"/>
              <a:gd name="connsiteX4" fmla="*/ 0 w 1370013"/>
              <a:gd name="connsiteY4" fmla="*/ 0 h 1355725"/>
              <a:gd name="connsiteX0" fmla="*/ 4763 w 1370013"/>
              <a:gd name="connsiteY0" fmla="*/ 0 h 641350"/>
              <a:gd name="connsiteX1" fmla="*/ 1365250 w 1370013"/>
              <a:gd name="connsiteY1" fmla="*/ 9525 h 641350"/>
              <a:gd name="connsiteX2" fmla="*/ 1370013 w 1370013"/>
              <a:gd name="connsiteY2" fmla="*/ 641350 h 641350"/>
              <a:gd name="connsiteX3" fmla="*/ 0 w 1370013"/>
              <a:gd name="connsiteY3" fmla="*/ 641350 h 641350"/>
              <a:gd name="connsiteX4" fmla="*/ 4763 w 1370013"/>
              <a:gd name="connsiteY4" fmla="*/ 0 h 641350"/>
              <a:gd name="connsiteX0" fmla="*/ 4763 w 1370013"/>
              <a:gd name="connsiteY0" fmla="*/ 595847 h 1237197"/>
              <a:gd name="connsiteX1" fmla="*/ 1365250 w 1370013"/>
              <a:gd name="connsiteY1" fmla="*/ 605372 h 1237197"/>
              <a:gd name="connsiteX2" fmla="*/ 1370013 w 1370013"/>
              <a:gd name="connsiteY2" fmla="*/ 1237197 h 1237197"/>
              <a:gd name="connsiteX3" fmla="*/ 0 w 1370013"/>
              <a:gd name="connsiteY3" fmla="*/ 1237197 h 1237197"/>
              <a:gd name="connsiteX4" fmla="*/ 4763 w 1370013"/>
              <a:gd name="connsiteY4" fmla="*/ 595847 h 1237197"/>
              <a:gd name="connsiteX0" fmla="*/ 4763 w 1370013"/>
              <a:gd name="connsiteY0" fmla="*/ 764647 h 1405997"/>
              <a:gd name="connsiteX1" fmla="*/ 1365250 w 1370013"/>
              <a:gd name="connsiteY1" fmla="*/ 774172 h 1405997"/>
              <a:gd name="connsiteX2" fmla="*/ 1370013 w 1370013"/>
              <a:gd name="connsiteY2" fmla="*/ 1405997 h 1405997"/>
              <a:gd name="connsiteX3" fmla="*/ 0 w 1370013"/>
              <a:gd name="connsiteY3" fmla="*/ 1405997 h 1405997"/>
              <a:gd name="connsiteX4" fmla="*/ 4763 w 1370013"/>
              <a:gd name="connsiteY4" fmla="*/ 764647 h 1405997"/>
              <a:gd name="connsiteX0" fmla="*/ 4763 w 1370013"/>
              <a:gd name="connsiteY0" fmla="*/ 716251 h 1357601"/>
              <a:gd name="connsiteX1" fmla="*/ 1365250 w 1370013"/>
              <a:gd name="connsiteY1" fmla="*/ 725776 h 1357601"/>
              <a:gd name="connsiteX2" fmla="*/ 1370013 w 1370013"/>
              <a:gd name="connsiteY2" fmla="*/ 1357601 h 1357601"/>
              <a:gd name="connsiteX3" fmla="*/ 0 w 1370013"/>
              <a:gd name="connsiteY3" fmla="*/ 1357601 h 1357601"/>
              <a:gd name="connsiteX4" fmla="*/ 4763 w 1370013"/>
              <a:gd name="connsiteY4" fmla="*/ 716251 h 1357601"/>
              <a:gd name="connsiteX0" fmla="*/ 211 w 1374986"/>
              <a:gd name="connsiteY0" fmla="*/ 716251 h 1357601"/>
              <a:gd name="connsiteX1" fmla="*/ 1370223 w 1374986"/>
              <a:gd name="connsiteY1" fmla="*/ 725776 h 1357601"/>
              <a:gd name="connsiteX2" fmla="*/ 1374986 w 1374986"/>
              <a:gd name="connsiteY2" fmla="*/ 1357601 h 1357601"/>
              <a:gd name="connsiteX3" fmla="*/ 4973 w 1374986"/>
              <a:gd name="connsiteY3" fmla="*/ 1357601 h 1357601"/>
              <a:gd name="connsiteX4" fmla="*/ 211 w 1374986"/>
              <a:gd name="connsiteY4" fmla="*/ 716251 h 1357601"/>
              <a:gd name="connsiteX0" fmla="*/ 0 w 1374775"/>
              <a:gd name="connsiteY0" fmla="*/ 716251 h 1357601"/>
              <a:gd name="connsiteX1" fmla="*/ 1370012 w 1374775"/>
              <a:gd name="connsiteY1" fmla="*/ 725776 h 1357601"/>
              <a:gd name="connsiteX2" fmla="*/ 1374775 w 1374775"/>
              <a:gd name="connsiteY2" fmla="*/ 1357601 h 1357601"/>
              <a:gd name="connsiteX3" fmla="*/ 4762 w 1374775"/>
              <a:gd name="connsiteY3" fmla="*/ 1357601 h 1357601"/>
              <a:gd name="connsiteX4" fmla="*/ 0 w 1374775"/>
              <a:gd name="connsiteY4" fmla="*/ 716251 h 1357601"/>
              <a:gd name="connsiteX0" fmla="*/ 0 w 1374775"/>
              <a:gd name="connsiteY0" fmla="*/ 686229 h 1327579"/>
              <a:gd name="connsiteX1" fmla="*/ 1370012 w 1374775"/>
              <a:gd name="connsiteY1" fmla="*/ 695754 h 1327579"/>
              <a:gd name="connsiteX2" fmla="*/ 1374775 w 1374775"/>
              <a:gd name="connsiteY2" fmla="*/ 1327579 h 1327579"/>
              <a:gd name="connsiteX3" fmla="*/ 4762 w 1374775"/>
              <a:gd name="connsiteY3" fmla="*/ 1327579 h 1327579"/>
              <a:gd name="connsiteX4" fmla="*/ 0 w 1374775"/>
              <a:gd name="connsiteY4" fmla="*/ 686229 h 1327579"/>
              <a:gd name="connsiteX0" fmla="*/ 0 w 1375266"/>
              <a:gd name="connsiteY0" fmla="*/ 707643 h 1348993"/>
              <a:gd name="connsiteX1" fmla="*/ 1370012 w 1375266"/>
              <a:gd name="connsiteY1" fmla="*/ 717168 h 1348993"/>
              <a:gd name="connsiteX2" fmla="*/ 1374775 w 1375266"/>
              <a:gd name="connsiteY2" fmla="*/ 1348993 h 1348993"/>
              <a:gd name="connsiteX3" fmla="*/ 4762 w 1375266"/>
              <a:gd name="connsiteY3" fmla="*/ 1348993 h 1348993"/>
              <a:gd name="connsiteX4" fmla="*/ 0 w 1375266"/>
              <a:gd name="connsiteY4" fmla="*/ 707643 h 1348993"/>
              <a:gd name="connsiteX0" fmla="*/ 0 w 1375506"/>
              <a:gd name="connsiteY0" fmla="*/ 713559 h 1354909"/>
              <a:gd name="connsiteX1" fmla="*/ 1370012 w 1375506"/>
              <a:gd name="connsiteY1" fmla="*/ 723084 h 1354909"/>
              <a:gd name="connsiteX2" fmla="*/ 1374775 w 1375506"/>
              <a:gd name="connsiteY2" fmla="*/ 1354909 h 1354909"/>
              <a:gd name="connsiteX3" fmla="*/ 4762 w 1375506"/>
              <a:gd name="connsiteY3" fmla="*/ 1354909 h 1354909"/>
              <a:gd name="connsiteX4" fmla="*/ 0 w 1375506"/>
              <a:gd name="connsiteY4" fmla="*/ 713559 h 1354909"/>
              <a:gd name="connsiteX0" fmla="*/ 0 w 1375468"/>
              <a:gd name="connsiteY0" fmla="*/ 697806 h 1339156"/>
              <a:gd name="connsiteX1" fmla="*/ 1370012 w 1375468"/>
              <a:gd name="connsiteY1" fmla="*/ 707331 h 1339156"/>
              <a:gd name="connsiteX2" fmla="*/ 1374775 w 1375468"/>
              <a:gd name="connsiteY2" fmla="*/ 1339156 h 1339156"/>
              <a:gd name="connsiteX3" fmla="*/ 4762 w 1375468"/>
              <a:gd name="connsiteY3" fmla="*/ 1339156 h 1339156"/>
              <a:gd name="connsiteX4" fmla="*/ 0 w 1375468"/>
              <a:gd name="connsiteY4" fmla="*/ 697806 h 1339156"/>
              <a:gd name="connsiteX0" fmla="*/ 0 w 1375430"/>
              <a:gd name="connsiteY0" fmla="*/ 705673 h 1347023"/>
              <a:gd name="connsiteX1" fmla="*/ 1370012 w 1375430"/>
              <a:gd name="connsiteY1" fmla="*/ 715198 h 1347023"/>
              <a:gd name="connsiteX2" fmla="*/ 1374775 w 1375430"/>
              <a:gd name="connsiteY2" fmla="*/ 1347023 h 1347023"/>
              <a:gd name="connsiteX3" fmla="*/ 4762 w 1375430"/>
              <a:gd name="connsiteY3" fmla="*/ 1347023 h 1347023"/>
              <a:gd name="connsiteX4" fmla="*/ 0 w 1375430"/>
              <a:gd name="connsiteY4" fmla="*/ 705673 h 1347023"/>
              <a:gd name="connsiteX0" fmla="*/ 0 w 1375929"/>
              <a:gd name="connsiteY0" fmla="*/ 701030 h 1342380"/>
              <a:gd name="connsiteX1" fmla="*/ 1370012 w 1375929"/>
              <a:gd name="connsiteY1" fmla="*/ 710555 h 1342380"/>
              <a:gd name="connsiteX2" fmla="*/ 1374775 w 1375929"/>
              <a:gd name="connsiteY2" fmla="*/ 1342380 h 1342380"/>
              <a:gd name="connsiteX3" fmla="*/ 4762 w 1375929"/>
              <a:gd name="connsiteY3" fmla="*/ 1342380 h 1342380"/>
              <a:gd name="connsiteX4" fmla="*/ 0 w 1375929"/>
              <a:gd name="connsiteY4" fmla="*/ 701030 h 1342380"/>
              <a:gd name="connsiteX0" fmla="*/ 0 w 1376120"/>
              <a:gd name="connsiteY0" fmla="*/ 701030 h 1342380"/>
              <a:gd name="connsiteX1" fmla="*/ 1370012 w 1376120"/>
              <a:gd name="connsiteY1" fmla="*/ 710555 h 1342380"/>
              <a:gd name="connsiteX2" fmla="*/ 1374775 w 1376120"/>
              <a:gd name="connsiteY2" fmla="*/ 1342380 h 1342380"/>
              <a:gd name="connsiteX3" fmla="*/ 4762 w 1376120"/>
              <a:gd name="connsiteY3" fmla="*/ 1342380 h 1342380"/>
              <a:gd name="connsiteX4" fmla="*/ 0 w 1376120"/>
              <a:gd name="connsiteY4" fmla="*/ 701030 h 1342380"/>
              <a:gd name="connsiteX0" fmla="*/ 0 w 1376120"/>
              <a:gd name="connsiteY0" fmla="*/ 701030 h 1342380"/>
              <a:gd name="connsiteX1" fmla="*/ 1370012 w 1376120"/>
              <a:gd name="connsiteY1" fmla="*/ 710555 h 1342380"/>
              <a:gd name="connsiteX2" fmla="*/ 1374775 w 1376120"/>
              <a:gd name="connsiteY2" fmla="*/ 1342380 h 1342380"/>
              <a:gd name="connsiteX3" fmla="*/ 4762 w 1376120"/>
              <a:gd name="connsiteY3" fmla="*/ 735226 h 1342380"/>
              <a:gd name="connsiteX4" fmla="*/ 0 w 1376120"/>
              <a:gd name="connsiteY4" fmla="*/ 701030 h 1342380"/>
              <a:gd name="connsiteX0" fmla="*/ 0 w 1376120"/>
              <a:gd name="connsiteY0" fmla="*/ 701030 h 1342380"/>
              <a:gd name="connsiteX1" fmla="*/ 1370012 w 1376120"/>
              <a:gd name="connsiteY1" fmla="*/ 710555 h 1342380"/>
              <a:gd name="connsiteX2" fmla="*/ 1374775 w 1376120"/>
              <a:gd name="connsiteY2" fmla="*/ 1342380 h 1342380"/>
              <a:gd name="connsiteX3" fmla="*/ 4762 w 1376120"/>
              <a:gd name="connsiteY3" fmla="*/ 735226 h 1342380"/>
              <a:gd name="connsiteX4" fmla="*/ 0 w 1376120"/>
              <a:gd name="connsiteY4" fmla="*/ 701030 h 1342380"/>
              <a:gd name="connsiteX0" fmla="*/ 0 w 1376120"/>
              <a:gd name="connsiteY0" fmla="*/ 701030 h 1093683"/>
              <a:gd name="connsiteX1" fmla="*/ 1370012 w 1376120"/>
              <a:gd name="connsiteY1" fmla="*/ 710555 h 1093683"/>
              <a:gd name="connsiteX2" fmla="*/ 1365119 w 1376120"/>
              <a:gd name="connsiteY2" fmla="*/ 744713 h 1093683"/>
              <a:gd name="connsiteX3" fmla="*/ 4762 w 1376120"/>
              <a:gd name="connsiteY3" fmla="*/ 735226 h 1093683"/>
              <a:gd name="connsiteX4" fmla="*/ 0 w 1376120"/>
              <a:gd name="connsiteY4" fmla="*/ 701030 h 1093683"/>
              <a:gd name="connsiteX0" fmla="*/ 0 w 1376120"/>
              <a:gd name="connsiteY0" fmla="*/ 701030 h 1329471"/>
              <a:gd name="connsiteX1" fmla="*/ 1370012 w 1376120"/>
              <a:gd name="connsiteY1" fmla="*/ 710555 h 1329471"/>
              <a:gd name="connsiteX2" fmla="*/ 1365119 w 1376120"/>
              <a:gd name="connsiteY2" fmla="*/ 744713 h 1329471"/>
              <a:gd name="connsiteX3" fmla="*/ 4762 w 1376120"/>
              <a:gd name="connsiteY3" fmla="*/ 735226 h 1329471"/>
              <a:gd name="connsiteX4" fmla="*/ 0 w 1376120"/>
              <a:gd name="connsiteY4" fmla="*/ 701030 h 1329471"/>
              <a:gd name="connsiteX0" fmla="*/ 0 w 1376120"/>
              <a:gd name="connsiteY0" fmla="*/ 701030 h 1325703"/>
              <a:gd name="connsiteX1" fmla="*/ 1370012 w 1376120"/>
              <a:gd name="connsiteY1" fmla="*/ 710555 h 1325703"/>
              <a:gd name="connsiteX2" fmla="*/ 1365119 w 1376120"/>
              <a:gd name="connsiteY2" fmla="*/ 744713 h 1325703"/>
              <a:gd name="connsiteX3" fmla="*/ 4762 w 1376120"/>
              <a:gd name="connsiteY3" fmla="*/ 735226 h 1325703"/>
              <a:gd name="connsiteX4" fmla="*/ 0 w 1376120"/>
              <a:gd name="connsiteY4" fmla="*/ 701030 h 1325703"/>
              <a:gd name="connsiteX0" fmla="*/ 4894 w 1371402"/>
              <a:gd name="connsiteY0" fmla="*/ 685781 h 1348401"/>
              <a:gd name="connsiteX1" fmla="*/ 1365250 w 1371402"/>
              <a:gd name="connsiteY1" fmla="*/ 733253 h 1348401"/>
              <a:gd name="connsiteX2" fmla="*/ 1360357 w 1371402"/>
              <a:gd name="connsiteY2" fmla="*/ 767411 h 1348401"/>
              <a:gd name="connsiteX3" fmla="*/ 0 w 1371402"/>
              <a:gd name="connsiteY3" fmla="*/ 757924 h 1348401"/>
              <a:gd name="connsiteX4" fmla="*/ 4894 w 1371402"/>
              <a:gd name="connsiteY4" fmla="*/ 685781 h 1348401"/>
              <a:gd name="connsiteX0" fmla="*/ 4894 w 1371007"/>
              <a:gd name="connsiteY0" fmla="*/ 628517 h 1291137"/>
              <a:gd name="connsiteX1" fmla="*/ 1365250 w 1371007"/>
              <a:gd name="connsiteY1" fmla="*/ 675989 h 1291137"/>
              <a:gd name="connsiteX2" fmla="*/ 1360357 w 1371007"/>
              <a:gd name="connsiteY2" fmla="*/ 710147 h 1291137"/>
              <a:gd name="connsiteX3" fmla="*/ 0 w 1371007"/>
              <a:gd name="connsiteY3" fmla="*/ 700660 h 1291137"/>
              <a:gd name="connsiteX4" fmla="*/ 4894 w 1371007"/>
              <a:gd name="connsiteY4" fmla="*/ 628517 h 1291137"/>
              <a:gd name="connsiteX0" fmla="*/ 4894 w 1369587"/>
              <a:gd name="connsiteY0" fmla="*/ 660164 h 1322784"/>
              <a:gd name="connsiteX1" fmla="*/ 1365250 w 1369587"/>
              <a:gd name="connsiteY1" fmla="*/ 707636 h 1322784"/>
              <a:gd name="connsiteX2" fmla="*/ 1360357 w 1369587"/>
              <a:gd name="connsiteY2" fmla="*/ 741794 h 1322784"/>
              <a:gd name="connsiteX3" fmla="*/ 0 w 1369587"/>
              <a:gd name="connsiteY3" fmla="*/ 732307 h 1322784"/>
              <a:gd name="connsiteX4" fmla="*/ 4894 w 1369587"/>
              <a:gd name="connsiteY4" fmla="*/ 660164 h 1322784"/>
              <a:gd name="connsiteX0" fmla="*/ 9722 w 1369602"/>
              <a:gd name="connsiteY0" fmla="*/ 660164 h 1322784"/>
              <a:gd name="connsiteX1" fmla="*/ 1365250 w 1369602"/>
              <a:gd name="connsiteY1" fmla="*/ 707636 h 1322784"/>
              <a:gd name="connsiteX2" fmla="*/ 1360357 w 1369602"/>
              <a:gd name="connsiteY2" fmla="*/ 741794 h 1322784"/>
              <a:gd name="connsiteX3" fmla="*/ 0 w 1369602"/>
              <a:gd name="connsiteY3" fmla="*/ 732307 h 1322784"/>
              <a:gd name="connsiteX4" fmla="*/ 9722 w 1369602"/>
              <a:gd name="connsiteY4" fmla="*/ 660164 h 1322784"/>
              <a:gd name="connsiteX0" fmla="*/ 66 w 1359946"/>
              <a:gd name="connsiteY0" fmla="*/ 660164 h 1322784"/>
              <a:gd name="connsiteX1" fmla="*/ 1355594 w 1359946"/>
              <a:gd name="connsiteY1" fmla="*/ 707636 h 1322784"/>
              <a:gd name="connsiteX2" fmla="*/ 1350701 w 1359946"/>
              <a:gd name="connsiteY2" fmla="*/ 741794 h 1322784"/>
              <a:gd name="connsiteX3" fmla="*/ 0 w 1359946"/>
              <a:gd name="connsiteY3" fmla="*/ 732307 h 1322784"/>
              <a:gd name="connsiteX4" fmla="*/ 66 w 1359946"/>
              <a:gd name="connsiteY4" fmla="*/ 660164 h 1322784"/>
              <a:gd name="connsiteX0" fmla="*/ 66 w 1388823"/>
              <a:gd name="connsiteY0" fmla="*/ 668497 h 1331117"/>
              <a:gd name="connsiteX1" fmla="*/ 1384561 w 1388823"/>
              <a:gd name="connsiteY1" fmla="*/ 696995 h 1331117"/>
              <a:gd name="connsiteX2" fmla="*/ 1350701 w 1388823"/>
              <a:gd name="connsiteY2" fmla="*/ 750127 h 1331117"/>
              <a:gd name="connsiteX3" fmla="*/ 0 w 1388823"/>
              <a:gd name="connsiteY3" fmla="*/ 740640 h 1331117"/>
              <a:gd name="connsiteX4" fmla="*/ 66 w 1388823"/>
              <a:gd name="connsiteY4" fmla="*/ 668497 h 1331117"/>
              <a:gd name="connsiteX0" fmla="*/ 66 w 1388823"/>
              <a:gd name="connsiteY0" fmla="*/ 668497 h 1423145"/>
              <a:gd name="connsiteX1" fmla="*/ 1384561 w 1388823"/>
              <a:gd name="connsiteY1" fmla="*/ 696995 h 1423145"/>
              <a:gd name="connsiteX2" fmla="*/ 1316907 w 1388823"/>
              <a:gd name="connsiteY2" fmla="*/ 935120 h 1423145"/>
              <a:gd name="connsiteX3" fmla="*/ 0 w 1388823"/>
              <a:gd name="connsiteY3" fmla="*/ 740640 h 1423145"/>
              <a:gd name="connsiteX4" fmla="*/ 66 w 1388823"/>
              <a:gd name="connsiteY4" fmla="*/ 668497 h 1423145"/>
              <a:gd name="connsiteX0" fmla="*/ 66 w 1388823"/>
              <a:gd name="connsiteY0" fmla="*/ 668497 h 1423145"/>
              <a:gd name="connsiteX1" fmla="*/ 1384561 w 1388823"/>
              <a:gd name="connsiteY1" fmla="*/ 696995 h 1423145"/>
              <a:gd name="connsiteX2" fmla="*/ 1316907 w 1388823"/>
              <a:gd name="connsiteY2" fmla="*/ 935120 h 1423145"/>
              <a:gd name="connsiteX3" fmla="*/ 0 w 1388823"/>
              <a:gd name="connsiteY3" fmla="*/ 740640 h 1423145"/>
              <a:gd name="connsiteX4" fmla="*/ 66 w 1388823"/>
              <a:gd name="connsiteY4" fmla="*/ 668497 h 1423145"/>
              <a:gd name="connsiteX0" fmla="*/ 66 w 1388823"/>
              <a:gd name="connsiteY0" fmla="*/ 668497 h 1425722"/>
              <a:gd name="connsiteX1" fmla="*/ 1384561 w 1388823"/>
              <a:gd name="connsiteY1" fmla="*/ 696995 h 1425722"/>
              <a:gd name="connsiteX2" fmla="*/ 1336218 w 1388823"/>
              <a:gd name="connsiteY2" fmla="*/ 939864 h 1425722"/>
              <a:gd name="connsiteX3" fmla="*/ 0 w 1388823"/>
              <a:gd name="connsiteY3" fmla="*/ 740640 h 1425722"/>
              <a:gd name="connsiteX4" fmla="*/ 66 w 1388823"/>
              <a:gd name="connsiteY4" fmla="*/ 668497 h 1425722"/>
              <a:gd name="connsiteX0" fmla="*/ 66 w 1388823"/>
              <a:gd name="connsiteY0" fmla="*/ 668497 h 1425722"/>
              <a:gd name="connsiteX1" fmla="*/ 1384561 w 1388823"/>
              <a:gd name="connsiteY1" fmla="*/ 696995 h 1425722"/>
              <a:gd name="connsiteX2" fmla="*/ 1336218 w 1388823"/>
              <a:gd name="connsiteY2" fmla="*/ 939864 h 1425722"/>
              <a:gd name="connsiteX3" fmla="*/ 0 w 1388823"/>
              <a:gd name="connsiteY3" fmla="*/ 740640 h 1425722"/>
              <a:gd name="connsiteX4" fmla="*/ 66 w 1388823"/>
              <a:gd name="connsiteY4" fmla="*/ 668497 h 1425722"/>
              <a:gd name="connsiteX0" fmla="*/ 66 w 1388823"/>
              <a:gd name="connsiteY0" fmla="*/ 668497 h 1357878"/>
              <a:gd name="connsiteX1" fmla="*/ 1384561 w 1388823"/>
              <a:gd name="connsiteY1" fmla="*/ 696995 h 1357878"/>
              <a:gd name="connsiteX2" fmla="*/ 1336218 w 1388823"/>
              <a:gd name="connsiteY2" fmla="*/ 939864 h 1357878"/>
              <a:gd name="connsiteX3" fmla="*/ 0 w 1388823"/>
              <a:gd name="connsiteY3" fmla="*/ 740640 h 1357878"/>
              <a:gd name="connsiteX4" fmla="*/ 66 w 1388823"/>
              <a:gd name="connsiteY4" fmla="*/ 668497 h 1357878"/>
              <a:gd name="connsiteX0" fmla="*/ 4893 w 1393650"/>
              <a:gd name="connsiteY0" fmla="*/ 668497 h 1394664"/>
              <a:gd name="connsiteX1" fmla="*/ 1389388 w 1393650"/>
              <a:gd name="connsiteY1" fmla="*/ 696995 h 1394664"/>
              <a:gd name="connsiteX2" fmla="*/ 1341045 w 1393650"/>
              <a:gd name="connsiteY2" fmla="*/ 939864 h 1394664"/>
              <a:gd name="connsiteX3" fmla="*/ 0 w 1393650"/>
              <a:gd name="connsiteY3" fmla="*/ 811792 h 1394664"/>
              <a:gd name="connsiteX4" fmla="*/ 4893 w 1393650"/>
              <a:gd name="connsiteY4" fmla="*/ 668497 h 1394664"/>
              <a:gd name="connsiteX0" fmla="*/ 4893 w 1393650"/>
              <a:gd name="connsiteY0" fmla="*/ 668497 h 1354383"/>
              <a:gd name="connsiteX1" fmla="*/ 1389388 w 1393650"/>
              <a:gd name="connsiteY1" fmla="*/ 696995 h 1354383"/>
              <a:gd name="connsiteX2" fmla="*/ 1341045 w 1393650"/>
              <a:gd name="connsiteY2" fmla="*/ 939864 h 1354383"/>
              <a:gd name="connsiteX3" fmla="*/ 0 w 1393650"/>
              <a:gd name="connsiteY3" fmla="*/ 811792 h 1354383"/>
              <a:gd name="connsiteX4" fmla="*/ 4893 w 1393650"/>
              <a:gd name="connsiteY4" fmla="*/ 668497 h 1354383"/>
              <a:gd name="connsiteX0" fmla="*/ 5330 w 1394087"/>
              <a:gd name="connsiteY0" fmla="*/ 668497 h 1354383"/>
              <a:gd name="connsiteX1" fmla="*/ 1389825 w 1394087"/>
              <a:gd name="connsiteY1" fmla="*/ 696995 h 1354383"/>
              <a:gd name="connsiteX2" fmla="*/ 1341482 w 1394087"/>
              <a:gd name="connsiteY2" fmla="*/ 939864 h 1354383"/>
              <a:gd name="connsiteX3" fmla="*/ 437 w 1394087"/>
              <a:gd name="connsiteY3" fmla="*/ 811792 h 1354383"/>
              <a:gd name="connsiteX4" fmla="*/ 5330 w 1394087"/>
              <a:gd name="connsiteY4" fmla="*/ 668497 h 1354383"/>
              <a:gd name="connsiteX0" fmla="*/ 0 w 1408010"/>
              <a:gd name="connsiteY0" fmla="*/ 654008 h 1373097"/>
              <a:gd name="connsiteX1" fmla="*/ 1403806 w 1408010"/>
              <a:gd name="connsiteY1" fmla="*/ 715709 h 1373097"/>
              <a:gd name="connsiteX2" fmla="*/ 1355463 w 1408010"/>
              <a:gd name="connsiteY2" fmla="*/ 958578 h 1373097"/>
              <a:gd name="connsiteX3" fmla="*/ 14418 w 1408010"/>
              <a:gd name="connsiteY3" fmla="*/ 830506 h 1373097"/>
              <a:gd name="connsiteX4" fmla="*/ 0 w 1408010"/>
              <a:gd name="connsiteY4" fmla="*/ 654008 h 1373097"/>
              <a:gd name="connsiteX0" fmla="*/ 0 w 1408096"/>
              <a:gd name="connsiteY0" fmla="*/ 640544 h 1359633"/>
              <a:gd name="connsiteX1" fmla="*/ 1403806 w 1408096"/>
              <a:gd name="connsiteY1" fmla="*/ 702245 h 1359633"/>
              <a:gd name="connsiteX2" fmla="*/ 1355463 w 1408096"/>
              <a:gd name="connsiteY2" fmla="*/ 945114 h 1359633"/>
              <a:gd name="connsiteX3" fmla="*/ 14418 w 1408096"/>
              <a:gd name="connsiteY3" fmla="*/ 817042 h 1359633"/>
              <a:gd name="connsiteX4" fmla="*/ 0 w 1408096"/>
              <a:gd name="connsiteY4" fmla="*/ 640544 h 1359633"/>
              <a:gd name="connsiteX0" fmla="*/ 0 w 1404766"/>
              <a:gd name="connsiteY0" fmla="*/ 643774 h 1362863"/>
              <a:gd name="connsiteX1" fmla="*/ 1403806 w 1404766"/>
              <a:gd name="connsiteY1" fmla="*/ 705475 h 1362863"/>
              <a:gd name="connsiteX2" fmla="*/ 1355463 w 1404766"/>
              <a:gd name="connsiteY2" fmla="*/ 948344 h 1362863"/>
              <a:gd name="connsiteX3" fmla="*/ 14418 w 1404766"/>
              <a:gd name="connsiteY3" fmla="*/ 820272 h 1362863"/>
              <a:gd name="connsiteX4" fmla="*/ 0 w 1404766"/>
              <a:gd name="connsiteY4" fmla="*/ 643774 h 1362863"/>
              <a:gd name="connsiteX0" fmla="*/ 0 w 1399638"/>
              <a:gd name="connsiteY0" fmla="*/ 642622 h 1361711"/>
              <a:gd name="connsiteX1" fmla="*/ 1398433 w 1399638"/>
              <a:gd name="connsiteY1" fmla="*/ 706963 h 1361711"/>
              <a:gd name="connsiteX2" fmla="*/ 1355463 w 1399638"/>
              <a:gd name="connsiteY2" fmla="*/ 947192 h 1361711"/>
              <a:gd name="connsiteX3" fmla="*/ 14418 w 1399638"/>
              <a:gd name="connsiteY3" fmla="*/ 819120 h 1361711"/>
              <a:gd name="connsiteX4" fmla="*/ 0 w 1399638"/>
              <a:gd name="connsiteY4" fmla="*/ 642622 h 1361711"/>
              <a:gd name="connsiteX0" fmla="*/ 0 w 1400799"/>
              <a:gd name="connsiteY0" fmla="*/ 642622 h 1361711"/>
              <a:gd name="connsiteX1" fmla="*/ 1398433 w 1400799"/>
              <a:gd name="connsiteY1" fmla="*/ 706963 h 1361711"/>
              <a:gd name="connsiteX2" fmla="*/ 1355463 w 1400799"/>
              <a:gd name="connsiteY2" fmla="*/ 947192 h 1361711"/>
              <a:gd name="connsiteX3" fmla="*/ 14418 w 1400799"/>
              <a:gd name="connsiteY3" fmla="*/ 819120 h 1361711"/>
              <a:gd name="connsiteX4" fmla="*/ 0 w 1400799"/>
              <a:gd name="connsiteY4" fmla="*/ 642622 h 1361711"/>
              <a:gd name="connsiteX0" fmla="*/ 0 w 1400799"/>
              <a:gd name="connsiteY0" fmla="*/ 642622 h 1360734"/>
              <a:gd name="connsiteX1" fmla="*/ 1398433 w 1400799"/>
              <a:gd name="connsiteY1" fmla="*/ 706963 h 1360734"/>
              <a:gd name="connsiteX2" fmla="*/ 1355463 w 1400799"/>
              <a:gd name="connsiteY2" fmla="*/ 947192 h 1360734"/>
              <a:gd name="connsiteX3" fmla="*/ 14418 w 1400799"/>
              <a:gd name="connsiteY3" fmla="*/ 819120 h 1360734"/>
              <a:gd name="connsiteX4" fmla="*/ 0 w 1400799"/>
              <a:gd name="connsiteY4" fmla="*/ 642622 h 1360734"/>
              <a:gd name="connsiteX0" fmla="*/ 0 w 1400799"/>
              <a:gd name="connsiteY0" fmla="*/ 642622 h 1347487"/>
              <a:gd name="connsiteX1" fmla="*/ 1398433 w 1400799"/>
              <a:gd name="connsiteY1" fmla="*/ 706963 h 1347487"/>
              <a:gd name="connsiteX2" fmla="*/ 1355463 w 1400799"/>
              <a:gd name="connsiteY2" fmla="*/ 947192 h 1347487"/>
              <a:gd name="connsiteX3" fmla="*/ 17104 w 1400799"/>
              <a:gd name="connsiteY3" fmla="*/ 792723 h 1347487"/>
              <a:gd name="connsiteX4" fmla="*/ 0 w 1400799"/>
              <a:gd name="connsiteY4" fmla="*/ 642622 h 1347487"/>
              <a:gd name="connsiteX0" fmla="*/ 0 w 1400799"/>
              <a:gd name="connsiteY0" fmla="*/ 642622 h 1356367"/>
              <a:gd name="connsiteX1" fmla="*/ 1398433 w 1400799"/>
              <a:gd name="connsiteY1" fmla="*/ 706963 h 1356367"/>
              <a:gd name="connsiteX2" fmla="*/ 1355463 w 1400799"/>
              <a:gd name="connsiteY2" fmla="*/ 947192 h 1356367"/>
              <a:gd name="connsiteX3" fmla="*/ 17104 w 1400799"/>
              <a:gd name="connsiteY3" fmla="*/ 792723 h 1356367"/>
              <a:gd name="connsiteX4" fmla="*/ 0 w 1400799"/>
              <a:gd name="connsiteY4" fmla="*/ 642622 h 1356367"/>
              <a:gd name="connsiteX0" fmla="*/ 12758 w 1384003"/>
              <a:gd name="connsiteY0" fmla="*/ 580396 h 1447249"/>
              <a:gd name="connsiteX1" fmla="*/ 1381637 w 1384003"/>
              <a:gd name="connsiteY1" fmla="*/ 797845 h 1447249"/>
              <a:gd name="connsiteX2" fmla="*/ 1338667 w 1384003"/>
              <a:gd name="connsiteY2" fmla="*/ 1038074 h 1447249"/>
              <a:gd name="connsiteX3" fmla="*/ 308 w 1384003"/>
              <a:gd name="connsiteY3" fmla="*/ 883605 h 1447249"/>
              <a:gd name="connsiteX4" fmla="*/ 12758 w 1384003"/>
              <a:gd name="connsiteY4" fmla="*/ 580396 h 1447249"/>
              <a:gd name="connsiteX0" fmla="*/ 13072 w 1384317"/>
              <a:gd name="connsiteY0" fmla="*/ 580396 h 1447249"/>
              <a:gd name="connsiteX1" fmla="*/ 1381951 w 1384317"/>
              <a:gd name="connsiteY1" fmla="*/ 797845 h 1447249"/>
              <a:gd name="connsiteX2" fmla="*/ 1338981 w 1384317"/>
              <a:gd name="connsiteY2" fmla="*/ 1038074 h 1447249"/>
              <a:gd name="connsiteX3" fmla="*/ 622 w 1384317"/>
              <a:gd name="connsiteY3" fmla="*/ 883605 h 1447249"/>
              <a:gd name="connsiteX4" fmla="*/ 13072 w 1384317"/>
              <a:gd name="connsiteY4" fmla="*/ 580396 h 1447249"/>
              <a:gd name="connsiteX0" fmla="*/ 26189 w 1383999"/>
              <a:gd name="connsiteY0" fmla="*/ 575445 h 1455497"/>
              <a:gd name="connsiteX1" fmla="*/ 1381633 w 1383999"/>
              <a:gd name="connsiteY1" fmla="*/ 806093 h 1455497"/>
              <a:gd name="connsiteX2" fmla="*/ 1338663 w 1383999"/>
              <a:gd name="connsiteY2" fmla="*/ 1046322 h 1455497"/>
              <a:gd name="connsiteX3" fmla="*/ 304 w 1383999"/>
              <a:gd name="connsiteY3" fmla="*/ 891853 h 1455497"/>
              <a:gd name="connsiteX4" fmla="*/ 26189 w 1383999"/>
              <a:gd name="connsiteY4" fmla="*/ 575445 h 1455497"/>
              <a:gd name="connsiteX0" fmla="*/ 26317 w 1384127"/>
              <a:gd name="connsiteY0" fmla="*/ 575445 h 1455497"/>
              <a:gd name="connsiteX1" fmla="*/ 1381761 w 1384127"/>
              <a:gd name="connsiteY1" fmla="*/ 806093 h 1455497"/>
              <a:gd name="connsiteX2" fmla="*/ 1338791 w 1384127"/>
              <a:gd name="connsiteY2" fmla="*/ 1046322 h 1455497"/>
              <a:gd name="connsiteX3" fmla="*/ 432 w 1384127"/>
              <a:gd name="connsiteY3" fmla="*/ 891853 h 1455497"/>
              <a:gd name="connsiteX4" fmla="*/ 26317 w 1384127"/>
              <a:gd name="connsiteY4" fmla="*/ 575445 h 1455497"/>
              <a:gd name="connsiteX0" fmla="*/ 26317 w 1384127"/>
              <a:gd name="connsiteY0" fmla="*/ 468636 h 1348688"/>
              <a:gd name="connsiteX1" fmla="*/ 1381761 w 1384127"/>
              <a:gd name="connsiteY1" fmla="*/ 699284 h 1348688"/>
              <a:gd name="connsiteX2" fmla="*/ 1338791 w 1384127"/>
              <a:gd name="connsiteY2" fmla="*/ 939513 h 1348688"/>
              <a:gd name="connsiteX3" fmla="*/ 432 w 1384127"/>
              <a:gd name="connsiteY3" fmla="*/ 785044 h 1348688"/>
              <a:gd name="connsiteX4" fmla="*/ 26317 w 1384127"/>
              <a:gd name="connsiteY4" fmla="*/ 468636 h 1348688"/>
              <a:gd name="connsiteX0" fmla="*/ 26317 w 1384127"/>
              <a:gd name="connsiteY0" fmla="*/ 474629 h 1354681"/>
              <a:gd name="connsiteX1" fmla="*/ 1381761 w 1384127"/>
              <a:gd name="connsiteY1" fmla="*/ 705277 h 1354681"/>
              <a:gd name="connsiteX2" fmla="*/ 1338791 w 1384127"/>
              <a:gd name="connsiteY2" fmla="*/ 945506 h 1354681"/>
              <a:gd name="connsiteX3" fmla="*/ 432 w 1384127"/>
              <a:gd name="connsiteY3" fmla="*/ 791037 h 1354681"/>
              <a:gd name="connsiteX4" fmla="*/ 26317 w 1384127"/>
              <a:gd name="connsiteY4" fmla="*/ 474629 h 1354681"/>
              <a:gd name="connsiteX0" fmla="*/ 26317 w 1384127"/>
              <a:gd name="connsiteY0" fmla="*/ 466934 h 1346986"/>
              <a:gd name="connsiteX1" fmla="*/ 1381761 w 1384127"/>
              <a:gd name="connsiteY1" fmla="*/ 697582 h 1346986"/>
              <a:gd name="connsiteX2" fmla="*/ 1338791 w 1384127"/>
              <a:gd name="connsiteY2" fmla="*/ 937811 h 1346986"/>
              <a:gd name="connsiteX3" fmla="*/ 432 w 1384127"/>
              <a:gd name="connsiteY3" fmla="*/ 783342 h 1346986"/>
              <a:gd name="connsiteX4" fmla="*/ 26317 w 1384127"/>
              <a:gd name="connsiteY4" fmla="*/ 466934 h 1346986"/>
              <a:gd name="connsiteX0" fmla="*/ 26317 w 1384127"/>
              <a:gd name="connsiteY0" fmla="*/ 463881 h 1343933"/>
              <a:gd name="connsiteX1" fmla="*/ 1381761 w 1384127"/>
              <a:gd name="connsiteY1" fmla="*/ 694529 h 1343933"/>
              <a:gd name="connsiteX2" fmla="*/ 1338791 w 1384127"/>
              <a:gd name="connsiteY2" fmla="*/ 934758 h 1343933"/>
              <a:gd name="connsiteX3" fmla="*/ 432 w 1384127"/>
              <a:gd name="connsiteY3" fmla="*/ 780289 h 1343933"/>
              <a:gd name="connsiteX4" fmla="*/ 26317 w 1384127"/>
              <a:gd name="connsiteY4" fmla="*/ 463881 h 1343933"/>
              <a:gd name="connsiteX0" fmla="*/ 26317 w 1395853"/>
              <a:gd name="connsiteY0" fmla="*/ 460078 h 1340130"/>
              <a:gd name="connsiteX1" fmla="*/ 1394912 w 1395853"/>
              <a:gd name="connsiteY1" fmla="*/ 700234 h 1340130"/>
              <a:gd name="connsiteX2" fmla="*/ 1338791 w 1395853"/>
              <a:gd name="connsiteY2" fmla="*/ 930955 h 1340130"/>
              <a:gd name="connsiteX3" fmla="*/ 432 w 1395853"/>
              <a:gd name="connsiteY3" fmla="*/ 776486 h 1340130"/>
              <a:gd name="connsiteX4" fmla="*/ 26317 w 1395853"/>
              <a:gd name="connsiteY4" fmla="*/ 460078 h 1340130"/>
              <a:gd name="connsiteX0" fmla="*/ 25885 w 1395421"/>
              <a:gd name="connsiteY0" fmla="*/ 460078 h 1340130"/>
              <a:gd name="connsiteX1" fmla="*/ 1394480 w 1395421"/>
              <a:gd name="connsiteY1" fmla="*/ 700234 h 1340130"/>
              <a:gd name="connsiteX2" fmla="*/ 1338359 w 1395421"/>
              <a:gd name="connsiteY2" fmla="*/ 930955 h 1340130"/>
              <a:gd name="connsiteX3" fmla="*/ 0 w 1395421"/>
              <a:gd name="connsiteY3" fmla="*/ 776486 h 1340130"/>
              <a:gd name="connsiteX4" fmla="*/ 25885 w 1395421"/>
              <a:gd name="connsiteY4" fmla="*/ 460078 h 1340130"/>
              <a:gd name="connsiteX0" fmla="*/ 42324 w 1395421"/>
              <a:gd name="connsiteY0" fmla="*/ 456316 h 1345876"/>
              <a:gd name="connsiteX1" fmla="*/ 1394480 w 1395421"/>
              <a:gd name="connsiteY1" fmla="*/ 705980 h 1345876"/>
              <a:gd name="connsiteX2" fmla="*/ 1338359 w 1395421"/>
              <a:gd name="connsiteY2" fmla="*/ 936701 h 1345876"/>
              <a:gd name="connsiteX3" fmla="*/ 0 w 1395421"/>
              <a:gd name="connsiteY3" fmla="*/ 782232 h 1345876"/>
              <a:gd name="connsiteX4" fmla="*/ 42324 w 1395421"/>
              <a:gd name="connsiteY4" fmla="*/ 456316 h 1345876"/>
              <a:gd name="connsiteX0" fmla="*/ 42324 w 1395421"/>
              <a:gd name="connsiteY0" fmla="*/ 460311 h 1349871"/>
              <a:gd name="connsiteX1" fmla="*/ 1394480 w 1395421"/>
              <a:gd name="connsiteY1" fmla="*/ 709975 h 1349871"/>
              <a:gd name="connsiteX2" fmla="*/ 1338359 w 1395421"/>
              <a:gd name="connsiteY2" fmla="*/ 940696 h 1349871"/>
              <a:gd name="connsiteX3" fmla="*/ 0 w 1395421"/>
              <a:gd name="connsiteY3" fmla="*/ 786227 h 1349871"/>
              <a:gd name="connsiteX4" fmla="*/ 42324 w 1395421"/>
              <a:gd name="connsiteY4" fmla="*/ 460311 h 1349871"/>
              <a:gd name="connsiteX0" fmla="*/ 42324 w 1395421"/>
              <a:gd name="connsiteY0" fmla="*/ 457648 h 1347208"/>
              <a:gd name="connsiteX1" fmla="*/ 1394480 w 1395421"/>
              <a:gd name="connsiteY1" fmla="*/ 707312 h 1347208"/>
              <a:gd name="connsiteX2" fmla="*/ 1338359 w 1395421"/>
              <a:gd name="connsiteY2" fmla="*/ 938033 h 1347208"/>
              <a:gd name="connsiteX3" fmla="*/ 0 w 1395421"/>
              <a:gd name="connsiteY3" fmla="*/ 783564 h 1347208"/>
              <a:gd name="connsiteX4" fmla="*/ 42324 w 1395421"/>
              <a:gd name="connsiteY4" fmla="*/ 457648 h 1347208"/>
              <a:gd name="connsiteX0" fmla="*/ 62050 w 1395421"/>
              <a:gd name="connsiteY0" fmla="*/ 455166 h 1351064"/>
              <a:gd name="connsiteX1" fmla="*/ 1394480 w 1395421"/>
              <a:gd name="connsiteY1" fmla="*/ 711168 h 1351064"/>
              <a:gd name="connsiteX2" fmla="*/ 1338359 w 1395421"/>
              <a:gd name="connsiteY2" fmla="*/ 941889 h 1351064"/>
              <a:gd name="connsiteX3" fmla="*/ 0 w 1395421"/>
              <a:gd name="connsiteY3" fmla="*/ 787420 h 1351064"/>
              <a:gd name="connsiteX4" fmla="*/ 62050 w 1395421"/>
              <a:gd name="connsiteY4" fmla="*/ 455166 h 1351064"/>
              <a:gd name="connsiteX0" fmla="*/ 62050 w 1395421"/>
              <a:gd name="connsiteY0" fmla="*/ 455166 h 1351064"/>
              <a:gd name="connsiteX1" fmla="*/ 1394480 w 1395421"/>
              <a:gd name="connsiteY1" fmla="*/ 711168 h 1351064"/>
              <a:gd name="connsiteX2" fmla="*/ 1338359 w 1395421"/>
              <a:gd name="connsiteY2" fmla="*/ 941889 h 1351064"/>
              <a:gd name="connsiteX3" fmla="*/ 0 w 1395421"/>
              <a:gd name="connsiteY3" fmla="*/ 787420 h 1351064"/>
              <a:gd name="connsiteX4" fmla="*/ 62050 w 1395421"/>
              <a:gd name="connsiteY4" fmla="*/ 455166 h 1351064"/>
              <a:gd name="connsiteX0" fmla="*/ 39036 w 1395421"/>
              <a:gd name="connsiteY0" fmla="*/ 447832 h 1362746"/>
              <a:gd name="connsiteX1" fmla="*/ 1394480 w 1395421"/>
              <a:gd name="connsiteY1" fmla="*/ 722850 h 1362746"/>
              <a:gd name="connsiteX2" fmla="*/ 1338359 w 1395421"/>
              <a:gd name="connsiteY2" fmla="*/ 953571 h 1362746"/>
              <a:gd name="connsiteX3" fmla="*/ 0 w 1395421"/>
              <a:gd name="connsiteY3" fmla="*/ 799102 h 1362746"/>
              <a:gd name="connsiteX4" fmla="*/ 39036 w 1395421"/>
              <a:gd name="connsiteY4" fmla="*/ 447832 h 1362746"/>
              <a:gd name="connsiteX0" fmla="*/ 39036 w 1395421"/>
              <a:gd name="connsiteY0" fmla="*/ 433087 h 1348001"/>
              <a:gd name="connsiteX1" fmla="*/ 1394480 w 1395421"/>
              <a:gd name="connsiteY1" fmla="*/ 708105 h 1348001"/>
              <a:gd name="connsiteX2" fmla="*/ 1338359 w 1395421"/>
              <a:gd name="connsiteY2" fmla="*/ 938826 h 1348001"/>
              <a:gd name="connsiteX3" fmla="*/ 0 w 1395421"/>
              <a:gd name="connsiteY3" fmla="*/ 784357 h 1348001"/>
              <a:gd name="connsiteX4" fmla="*/ 39036 w 1395421"/>
              <a:gd name="connsiteY4" fmla="*/ 433087 h 1348001"/>
              <a:gd name="connsiteX0" fmla="*/ 41940 w 1398325"/>
              <a:gd name="connsiteY0" fmla="*/ 433087 h 1348001"/>
              <a:gd name="connsiteX1" fmla="*/ 1397384 w 1398325"/>
              <a:gd name="connsiteY1" fmla="*/ 708105 h 1348001"/>
              <a:gd name="connsiteX2" fmla="*/ 1341263 w 1398325"/>
              <a:gd name="connsiteY2" fmla="*/ 938826 h 1348001"/>
              <a:gd name="connsiteX3" fmla="*/ 2904 w 1398325"/>
              <a:gd name="connsiteY3" fmla="*/ 784357 h 1348001"/>
              <a:gd name="connsiteX4" fmla="*/ 41940 w 1398325"/>
              <a:gd name="connsiteY4" fmla="*/ 433087 h 134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98325" h="1348001">
                <a:moveTo>
                  <a:pt x="41940" y="433087"/>
                </a:moveTo>
                <a:cubicBezTo>
                  <a:pt x="356074" y="-265149"/>
                  <a:pt x="1414477" y="-79963"/>
                  <a:pt x="1397384" y="708105"/>
                </a:cubicBezTo>
                <a:cubicBezTo>
                  <a:pt x="1401659" y="712808"/>
                  <a:pt x="1392780" y="808856"/>
                  <a:pt x="1341263" y="938826"/>
                </a:cubicBezTo>
                <a:cubicBezTo>
                  <a:pt x="1159695" y="1431081"/>
                  <a:pt x="216547" y="1589193"/>
                  <a:pt x="2904" y="784357"/>
                </a:cubicBezTo>
                <a:cubicBezTo>
                  <a:pt x="-6912" y="577148"/>
                  <a:pt x="8657" y="576976"/>
                  <a:pt x="41940" y="433087"/>
                </a:cubicBezTo>
                <a:close/>
              </a:path>
            </a:pathLst>
          </a:custGeom>
        </p:spPr>
        <p:txBody>
          <a:bodyPr/>
          <a:lstStyle>
            <a:lvl1pPr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5462187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8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4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7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26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2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3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2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41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44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2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0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9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8" grpId="0" build="p">
        <p:tmplLst>
          <p:tmpl lvl="1">
            <p:tnLst>
              <p:par>
                <p:cTn presetID="10" presetClass="entr" presetSubtype="0" fill="hold" nodeType="withEffect" nodePh="1">
                  <p:stCondLst>
                    <p:cond delay="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8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8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9" grpId="0" animBg="1"/>
      <p:bldP spid="19" grpId="1" animBg="1"/>
      <p:bldP spid="20" grpId="0"/>
      <p:bldP spid="21" grpId="0" build="p">
        <p:tmplLst>
          <p:tmpl lvl="1">
            <p:tnLst>
              <p:par>
                <p:cTn presetID="10" presetClass="entr" presetSubtype="0" fill="hold" nodeType="withEffect" nodePh="1">
                  <p:stCondLst>
                    <p:cond delay="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1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1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2" grpId="0" build="p">
        <p:tmplLst>
          <p:tmpl lvl="1">
            <p:tnLst>
              <p:par>
                <p:cTn presetID="10" presetClass="entr" presetSubtype="0" fill="hold" nodeType="withEffect" nodePh="1">
                  <p:stCondLst>
                    <p:cond delay="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3" grpId="0" build="p">
        <p:tmplLst>
          <p:tmpl lvl="1">
            <p:tnLst>
              <p:par>
                <p:cTn presetID="10" presetClass="entr" presetSubtype="0" fill="hold" nodeType="withEffect" nodePh="1">
                  <p:stCondLst>
                    <p:cond delay="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4" grpId="0" build="p">
        <p:tmplLst>
          <p:tmpl lvl="1">
            <p:tnLst>
              <p:par>
                <p:cTn presetID="10" presetClass="entr" presetSubtype="0" fill="hold" nodeType="withEffect" nodePh="1">
                  <p:stCondLst>
                    <p:cond delay="0"/>
                  </p:stCondLst>
                  <p:endCondLst>
                    <p:cond delay="0"/>
                  </p:end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2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25" grpId="0" animBg="1"/>
      <p:bldP spid="25" grpId="1" animBg="1"/>
      <p:bldP spid="26" grpId="0"/>
      <p:bldP spid="27" grpId="0" animBg="1"/>
      <p:bldP spid="27" grpId="1" animBg="1"/>
      <p:bldP spid="28" grpId="0"/>
      <p:bldP spid="29" grpId="0" animBg="1"/>
      <p:bldP spid="29" grpId="1" animBg="1"/>
      <p:bldP spid="30" grpId="0"/>
      <p:bldP spid="39" grpId="0" animBg="1"/>
      <p:bldP spid="39" grpId="1" animBg="1"/>
      <p:bldP spid="40" grpId="0"/>
    </p:bldLst>
  </p:timing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8"/>
          <p:cNvSpPr>
            <a:spLocks noGrp="1"/>
          </p:cNvSpPr>
          <p:nvPr>
            <p:ph type="body" sz="quarter" idx="10" hasCustomPrompt="1"/>
          </p:nvPr>
        </p:nvSpPr>
        <p:spPr>
          <a:xfrm>
            <a:off x="817053" y="1444643"/>
            <a:ext cx="10562167" cy="1480369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4400" b="1" baseline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AT" dirty="0"/>
              <a:t>Arial </a:t>
            </a:r>
            <a:r>
              <a:rPr lang="de-AT" dirty="0" err="1"/>
              <a:t>Bold</a:t>
            </a:r>
            <a:r>
              <a:rPr lang="de-AT" dirty="0"/>
              <a:t> 44 </a:t>
            </a:r>
            <a:r>
              <a:rPr lang="de-AT" dirty="0" err="1"/>
              <a:t>white</a:t>
            </a:r>
            <a:endParaRPr lang="de-AT" dirty="0"/>
          </a:p>
          <a:p>
            <a:pPr lvl="0"/>
            <a:r>
              <a:rPr lang="de-AT" dirty="0"/>
              <a:t>2. Headline Arial 44 Hellblau!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39BDC4C8-F4F5-4C0A-B02C-E1CD2C0F2C88}"/>
              </a:ext>
            </a:extLst>
          </p:cNvPr>
          <p:cNvSpPr txBox="1"/>
          <p:nvPr userDrawn="1"/>
        </p:nvSpPr>
        <p:spPr>
          <a:xfrm>
            <a:off x="700216" y="6376086"/>
            <a:ext cx="3064476" cy="369332"/>
          </a:xfrm>
          <a:prstGeom prst="rect">
            <a:avLst/>
          </a:prstGeom>
          <a:solidFill>
            <a:srgbClr val="022666"/>
          </a:solidFill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62366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1000"/>
                            </p:stCondLst>
                            <p:childTnLst>
                              <p:par>
                                <p:cTn id="10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>
        <p:tmplLst>
          <p:tmpl lvl="1">
            <p:tnLst>
              <p:par>
                <p:cTn presetID="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>
        <p15:guide id="1" pos="506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4_Referenz - plakativ 1 Ca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806468" y="523507"/>
            <a:ext cx="5287433" cy="314156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100" b="1" u="sng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 err="1"/>
              <a:t>aws</a:t>
            </a:r>
            <a:r>
              <a:rPr lang="de-DE" dirty="0"/>
              <a:t> Produkttitel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7554190" y="2687492"/>
            <a:ext cx="3798553" cy="3559502"/>
          </a:xfrm>
          <a:prstGeom prst="rect">
            <a:avLst/>
          </a:prstGeom>
        </p:spPr>
        <p:txBody>
          <a:bodyPr vert="horz" lIns="0" tIns="0" rIns="0" bIns="0" anchor="b" anchorCtr="0"/>
          <a:lstStyle>
            <a:lvl1pPr marL="0" marR="0" indent="0" algn="l" defTabSz="457154" rtl="0" eaLnBrk="1" fontAlgn="auto" latinLnBrk="0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Clr>
                <a:srgbClr val="00AEEF"/>
              </a:buClr>
              <a:buSzPct val="100000"/>
              <a:buFontTx/>
              <a:buNone/>
              <a:tabLst/>
              <a:defRPr sz="1600" b="0" baseline="0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AT" dirty="0"/>
              <a:t>Mastertextformat bearbeiten</a:t>
            </a:r>
          </a:p>
        </p:txBody>
      </p:sp>
      <p:sp>
        <p:nvSpPr>
          <p:cNvPr id="3" name="Bildplatzhalter 2"/>
          <p:cNvSpPr>
            <a:spLocks noGrp="1"/>
          </p:cNvSpPr>
          <p:nvPr>
            <p:ph type="pic" sz="quarter" idx="17" hasCustomPrompt="1"/>
          </p:nvPr>
        </p:nvSpPr>
        <p:spPr>
          <a:xfrm>
            <a:off x="2005014" y="2687491"/>
            <a:ext cx="5281200" cy="3567259"/>
          </a:xfrm>
          <a:prstGeom prst="rect">
            <a:avLst/>
          </a:prstGeom>
          <a:ln w="12700">
            <a:solidFill>
              <a:srgbClr val="0099FF"/>
            </a:solidFill>
          </a:ln>
        </p:spPr>
        <p:txBody>
          <a:bodyPr/>
          <a:lstStyle>
            <a:lvl1pPr marL="0" indent="0">
              <a:buFontTx/>
              <a:buNone/>
              <a:defRPr sz="1200" baseline="0">
                <a:latin typeface="Arial" charset="0"/>
              </a:defRPr>
            </a:lvl1pPr>
          </a:lstStyle>
          <a:p>
            <a:r>
              <a:rPr lang="de-DE" dirty="0"/>
              <a:t>Bild durch klicken hinzufügen</a:t>
            </a:r>
          </a:p>
        </p:txBody>
      </p:sp>
      <p:sp>
        <p:nvSpPr>
          <p:cNvPr id="8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005014" y="1741719"/>
            <a:ext cx="9374188" cy="708159"/>
          </a:xfrm>
          <a:prstGeom prst="rect">
            <a:avLst/>
          </a:prstGeom>
        </p:spPr>
        <p:txBody>
          <a:bodyPr vert="horz" lIns="0" tIns="0" rIns="0" bIns="0" anchor="b"/>
          <a:lstStyle>
            <a:lvl1pPr marL="0" indent="0">
              <a:buFontTx/>
              <a:buNone/>
              <a:defRPr sz="2400" b="1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AT" dirty="0"/>
              <a:t>Mastertextformat bearbeiten</a:t>
            </a:r>
          </a:p>
        </p:txBody>
      </p:sp>
      <p:pic>
        <p:nvPicPr>
          <p:cNvPr id="11" name="Bild 2" descr="pfeil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755"/>
          <a:stretch/>
        </p:blipFill>
        <p:spPr>
          <a:xfrm>
            <a:off x="-1" y="2277047"/>
            <a:ext cx="1833283" cy="2313432"/>
          </a:xfrm>
          <a:prstGeom prst="rect">
            <a:avLst/>
          </a:prstGeom>
        </p:spPr>
      </p:pic>
      <p:sp>
        <p:nvSpPr>
          <p:cNvPr id="12" name="Bildplatzhalter 2"/>
          <p:cNvSpPr>
            <a:spLocks noGrp="1"/>
          </p:cNvSpPr>
          <p:nvPr>
            <p:ph type="pic" sz="quarter" idx="18"/>
          </p:nvPr>
        </p:nvSpPr>
        <p:spPr>
          <a:xfrm>
            <a:off x="817157" y="1076095"/>
            <a:ext cx="3627526" cy="58125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9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AT" dirty="0"/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D60F48FE-ECC7-43C4-B697-5D6988CE8818}"/>
              </a:ext>
            </a:extLst>
          </p:cNvPr>
          <p:cNvSpPr txBox="1"/>
          <p:nvPr userDrawn="1"/>
        </p:nvSpPr>
        <p:spPr>
          <a:xfrm>
            <a:off x="716691" y="6376086"/>
            <a:ext cx="3097427" cy="39541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285567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  <p:extLst>
    <p:ext uri="{DCECCB84-F9BA-43D5-87BE-67443E8EF086}">
      <p15:sldGuideLst xmlns:p15="http://schemas.microsoft.com/office/powerpoint/2012/main">
        <p15:guide id="1" orient="horz" pos="3940" userDrawn="1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5_Referenz - plakativ 3 Cas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7" hasCustomPrompt="1"/>
          </p:nvPr>
        </p:nvSpPr>
        <p:spPr>
          <a:xfrm>
            <a:off x="806451" y="2260693"/>
            <a:ext cx="3384000" cy="1984377"/>
          </a:xfrm>
          <a:prstGeom prst="rect">
            <a:avLst/>
          </a:prstGeom>
          <a:ln w="12700">
            <a:solidFill>
              <a:srgbClr val="0099FF"/>
            </a:solidFill>
          </a:ln>
        </p:spPr>
        <p:txBody>
          <a:bodyPr/>
          <a:lstStyle>
            <a:lvl1pPr marL="0" indent="0">
              <a:buFontTx/>
              <a:buNone/>
              <a:defRPr sz="1200" baseline="0">
                <a:latin typeface="Arial" charset="0"/>
              </a:defRPr>
            </a:lvl1pPr>
          </a:lstStyle>
          <a:p>
            <a:r>
              <a:rPr lang="de-DE" dirty="0"/>
              <a:t>Bild durch </a:t>
            </a:r>
            <a:r>
              <a:rPr lang="de-DE"/>
              <a:t>klicken hinzufügen</a:t>
            </a:r>
            <a:endParaRPr lang="de-DE" dirty="0"/>
          </a:p>
        </p:txBody>
      </p:sp>
      <p:sp>
        <p:nvSpPr>
          <p:cNvPr id="13" name="Bildplatzhalter 2"/>
          <p:cNvSpPr>
            <a:spLocks noGrp="1"/>
          </p:cNvSpPr>
          <p:nvPr>
            <p:ph type="pic" sz="quarter" idx="20" hasCustomPrompt="1"/>
          </p:nvPr>
        </p:nvSpPr>
        <p:spPr>
          <a:xfrm>
            <a:off x="4391107" y="2260695"/>
            <a:ext cx="3384000" cy="1984377"/>
          </a:xfrm>
          <a:prstGeom prst="rect">
            <a:avLst/>
          </a:prstGeom>
          <a:ln w="12700">
            <a:solidFill>
              <a:srgbClr val="0099FF"/>
            </a:solidFill>
          </a:ln>
        </p:spPr>
        <p:txBody>
          <a:bodyPr/>
          <a:lstStyle>
            <a:lvl1pPr marL="0" indent="0">
              <a:buFontTx/>
              <a:buNone/>
              <a:defRPr sz="1200" baseline="0">
                <a:latin typeface="Arial" charset="0"/>
              </a:defRPr>
            </a:lvl1pPr>
          </a:lstStyle>
          <a:p>
            <a:r>
              <a:rPr lang="de-DE" dirty="0"/>
              <a:t>Bild durch </a:t>
            </a:r>
            <a:r>
              <a:rPr lang="de-DE"/>
              <a:t>klicken hinzufügen</a:t>
            </a:r>
            <a:endParaRPr lang="de-DE" dirty="0"/>
          </a:p>
        </p:txBody>
      </p:sp>
      <p:sp>
        <p:nvSpPr>
          <p:cNvPr id="14" name="Bildplatzhalter 2"/>
          <p:cNvSpPr>
            <a:spLocks noGrp="1"/>
          </p:cNvSpPr>
          <p:nvPr>
            <p:ph type="pic" sz="quarter" idx="21" hasCustomPrompt="1"/>
          </p:nvPr>
        </p:nvSpPr>
        <p:spPr>
          <a:xfrm>
            <a:off x="7994624" y="2260693"/>
            <a:ext cx="3384000" cy="1984377"/>
          </a:xfrm>
          <a:prstGeom prst="rect">
            <a:avLst/>
          </a:prstGeom>
          <a:ln w="12700">
            <a:solidFill>
              <a:srgbClr val="0099FF"/>
            </a:solidFill>
          </a:ln>
        </p:spPr>
        <p:txBody>
          <a:bodyPr/>
          <a:lstStyle>
            <a:lvl1pPr marL="0" indent="0">
              <a:buFontTx/>
              <a:buNone/>
              <a:defRPr sz="1200" baseline="0">
                <a:latin typeface="Arial" charset="0"/>
              </a:defRPr>
            </a:lvl1pPr>
          </a:lstStyle>
          <a:p>
            <a:r>
              <a:rPr lang="de-DE" dirty="0"/>
              <a:t>Bild durch </a:t>
            </a:r>
            <a:r>
              <a:rPr lang="de-DE"/>
              <a:t>klicken hinzufügen</a:t>
            </a:r>
            <a:endParaRPr lang="de-DE" dirty="0"/>
          </a:p>
        </p:txBody>
      </p:sp>
      <p:sp>
        <p:nvSpPr>
          <p:cNvPr id="9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806468" y="523507"/>
            <a:ext cx="5287433" cy="314156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100" b="1" u="sng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 err="1"/>
              <a:t>aws</a:t>
            </a:r>
            <a:r>
              <a:rPr lang="de-DE" dirty="0"/>
              <a:t> Produkttitel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>
          <a:xfrm>
            <a:off x="817033" y="4373822"/>
            <a:ext cx="3384000" cy="1323735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marR="0" indent="0" algn="l" defTabSz="457154" rtl="0" eaLnBrk="1" fontAlgn="auto" latinLnBrk="0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Clr>
                <a:srgbClr val="00AEEF"/>
              </a:buClr>
              <a:buSzPct val="100000"/>
              <a:buFontTx/>
              <a:buNone/>
              <a:tabLst/>
              <a:defRPr sz="1300" b="0" baseline="0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AT" dirty="0"/>
              <a:t>Mastertextformat bearbeiten</a:t>
            </a:r>
          </a:p>
        </p:txBody>
      </p:sp>
      <p:sp>
        <p:nvSpPr>
          <p:cNvPr id="15" name="Textplatzhalter 6"/>
          <p:cNvSpPr>
            <a:spLocks noGrp="1"/>
          </p:cNvSpPr>
          <p:nvPr>
            <p:ph type="body" sz="quarter" idx="22"/>
          </p:nvPr>
        </p:nvSpPr>
        <p:spPr>
          <a:xfrm>
            <a:off x="4401709" y="4373822"/>
            <a:ext cx="3394585" cy="1323735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marR="0" indent="0" algn="l" defTabSz="457154" rtl="0" eaLnBrk="1" fontAlgn="auto" latinLnBrk="0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Clr>
                <a:srgbClr val="00AEEF"/>
              </a:buClr>
              <a:buSzPct val="100000"/>
              <a:buFontTx/>
              <a:buNone/>
              <a:tabLst/>
              <a:defRPr sz="1300" b="0" baseline="0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AT" dirty="0"/>
              <a:t>Mastertextformat bearbeiten</a:t>
            </a:r>
          </a:p>
        </p:txBody>
      </p:sp>
      <p:sp>
        <p:nvSpPr>
          <p:cNvPr id="16" name="Textplatzhalter 6"/>
          <p:cNvSpPr>
            <a:spLocks noGrp="1"/>
          </p:cNvSpPr>
          <p:nvPr>
            <p:ph type="body" sz="quarter" idx="23"/>
          </p:nvPr>
        </p:nvSpPr>
        <p:spPr>
          <a:xfrm>
            <a:off x="7994624" y="4373818"/>
            <a:ext cx="3382460" cy="1331231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marR="0" indent="0" algn="l" defTabSz="457154" rtl="0" eaLnBrk="1" fontAlgn="auto" latinLnBrk="0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Clr>
                <a:srgbClr val="00AEEF"/>
              </a:buClr>
              <a:buSzPct val="100000"/>
              <a:buFontTx/>
              <a:buNone/>
              <a:tabLst/>
              <a:defRPr sz="1300" b="0" baseline="0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AT" dirty="0"/>
              <a:t>Mastertextformat bearbeiten</a:t>
            </a:r>
          </a:p>
        </p:txBody>
      </p:sp>
      <p:sp>
        <p:nvSpPr>
          <p:cNvPr id="11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806452" y="1444633"/>
            <a:ext cx="10551581" cy="687299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>
              <a:buFontTx/>
              <a:buNone/>
              <a:defRPr sz="2400" b="1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AT" dirty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24714452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13" grpId="0" animBg="1"/>
      <p:bldP spid="14" grpId="0" animBg="1"/>
    </p:bld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6_Referenz -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2005014" y="1724303"/>
            <a:ext cx="9374188" cy="725575"/>
          </a:xfrm>
          <a:prstGeom prst="rect">
            <a:avLst/>
          </a:prstGeom>
        </p:spPr>
        <p:txBody>
          <a:bodyPr vert="horz" lIns="0" tIns="0" rIns="0" bIns="0" anchor="b"/>
          <a:lstStyle>
            <a:lvl1pPr marL="0" indent="0">
              <a:buFontTx/>
              <a:buNone/>
              <a:defRPr sz="2400" b="1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AT" dirty="0"/>
              <a:t>Mastertextformat bearbeiten</a:t>
            </a:r>
          </a:p>
        </p:txBody>
      </p:sp>
      <p:sp>
        <p:nvSpPr>
          <p:cNvPr id="6" name="Textplatzhalter 4"/>
          <p:cNvSpPr>
            <a:spLocks noGrp="1"/>
          </p:cNvSpPr>
          <p:nvPr>
            <p:ph type="body" sz="quarter" idx="11"/>
          </p:nvPr>
        </p:nvSpPr>
        <p:spPr>
          <a:xfrm>
            <a:off x="2005014" y="2687484"/>
            <a:ext cx="9374201" cy="3420000"/>
          </a:xfrm>
          <a:prstGeom prst="rect">
            <a:avLst/>
          </a:prstGeom>
        </p:spPr>
        <p:txBody>
          <a:bodyPr vert="horz" lIns="0" tIns="0" rIns="0" bIns="0" anchor="t"/>
          <a:lstStyle>
            <a:lvl1pPr marL="0" indent="0">
              <a:lnSpc>
                <a:spcPct val="150000"/>
              </a:lnSpc>
              <a:spcBef>
                <a:spcPts val="0"/>
              </a:spcBef>
              <a:buFontTx/>
              <a:buNone/>
              <a:defRPr sz="1801" baseline="0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AT" dirty="0"/>
              <a:t>Mastertextformat bearbeiten</a:t>
            </a:r>
          </a:p>
        </p:txBody>
      </p:sp>
      <p:sp>
        <p:nvSpPr>
          <p:cNvPr id="9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806468" y="523507"/>
            <a:ext cx="5287433" cy="314156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100" b="1" u="sng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 err="1"/>
              <a:t>aws</a:t>
            </a:r>
            <a:r>
              <a:rPr lang="de-DE" dirty="0"/>
              <a:t> Produkttitel</a:t>
            </a:r>
          </a:p>
        </p:txBody>
      </p:sp>
      <p:sp>
        <p:nvSpPr>
          <p:cNvPr id="10" name="Bildplatzhalter 2"/>
          <p:cNvSpPr>
            <a:spLocks noGrp="1"/>
          </p:cNvSpPr>
          <p:nvPr>
            <p:ph type="pic" sz="quarter" idx="18"/>
          </p:nvPr>
        </p:nvSpPr>
        <p:spPr>
          <a:xfrm>
            <a:off x="817157" y="1076095"/>
            <a:ext cx="3627526" cy="58125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9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AT" dirty="0"/>
          </a:p>
        </p:txBody>
      </p:sp>
      <p:pic>
        <p:nvPicPr>
          <p:cNvPr id="11" name="Bild 2" descr="pfeil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755"/>
          <a:stretch/>
        </p:blipFill>
        <p:spPr>
          <a:xfrm>
            <a:off x="-1" y="2277047"/>
            <a:ext cx="1833283" cy="2313432"/>
          </a:xfrm>
          <a:prstGeom prst="rect">
            <a:avLst/>
          </a:prstGeom>
        </p:spPr>
      </p:pic>
      <p:sp>
        <p:nvSpPr>
          <p:cNvPr id="12" name="Oval 3"/>
          <p:cNvSpPr>
            <a:spLocks noChangeAspect="1"/>
          </p:cNvSpPr>
          <p:nvPr userDrawn="1"/>
        </p:nvSpPr>
        <p:spPr>
          <a:xfrm>
            <a:off x="319548" y="2556388"/>
            <a:ext cx="1260000" cy="1260000"/>
          </a:xfrm>
          <a:prstGeom prst="ellipse">
            <a:avLst/>
          </a:prstGeom>
          <a:solidFill>
            <a:schemeClr val="bg1"/>
          </a:solidFill>
          <a:ln>
            <a:solidFill>
              <a:srgbClr val="0099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accent2"/>
              </a:solidFill>
            </a:endParaRPr>
          </a:p>
        </p:txBody>
      </p:sp>
      <p:sp>
        <p:nvSpPr>
          <p:cNvPr id="13" name="Bildplatzhalter 6"/>
          <p:cNvSpPr>
            <a:spLocks noGrp="1"/>
          </p:cNvSpPr>
          <p:nvPr>
            <p:ph type="pic" sz="quarter" idx="14"/>
          </p:nvPr>
        </p:nvSpPr>
        <p:spPr>
          <a:xfrm>
            <a:off x="340409" y="2576318"/>
            <a:ext cx="1231476" cy="1237847"/>
          </a:xfrm>
          <a:custGeom>
            <a:avLst/>
            <a:gdLst>
              <a:gd name="connsiteX0" fmla="*/ 0 w 1240404"/>
              <a:gd name="connsiteY0" fmla="*/ 0 h 1248354"/>
              <a:gd name="connsiteX1" fmla="*/ 1240404 w 1240404"/>
              <a:gd name="connsiteY1" fmla="*/ 0 h 1248354"/>
              <a:gd name="connsiteX2" fmla="*/ 1240404 w 1240404"/>
              <a:gd name="connsiteY2" fmla="*/ 1248354 h 1248354"/>
              <a:gd name="connsiteX3" fmla="*/ 0 w 1240404"/>
              <a:gd name="connsiteY3" fmla="*/ 1248354 h 1248354"/>
              <a:gd name="connsiteX4" fmla="*/ 0 w 1240404"/>
              <a:gd name="connsiteY4" fmla="*/ 0 h 1248354"/>
              <a:gd name="connsiteX0" fmla="*/ 0 w 1240404"/>
              <a:gd name="connsiteY0" fmla="*/ 0 h 1248354"/>
              <a:gd name="connsiteX1" fmla="*/ 1192696 w 1240404"/>
              <a:gd name="connsiteY1" fmla="*/ 353833 h 1248354"/>
              <a:gd name="connsiteX2" fmla="*/ 1240404 w 1240404"/>
              <a:gd name="connsiteY2" fmla="*/ 1248354 h 1248354"/>
              <a:gd name="connsiteX3" fmla="*/ 0 w 1240404"/>
              <a:gd name="connsiteY3" fmla="*/ 1248354 h 1248354"/>
              <a:gd name="connsiteX4" fmla="*/ 0 w 1240404"/>
              <a:gd name="connsiteY4" fmla="*/ 0 h 1248354"/>
              <a:gd name="connsiteX0" fmla="*/ 47708 w 1240404"/>
              <a:gd name="connsiteY0" fmla="*/ 7951 h 894521"/>
              <a:gd name="connsiteX1" fmla="*/ 1192696 w 1240404"/>
              <a:gd name="connsiteY1" fmla="*/ 0 h 894521"/>
              <a:gd name="connsiteX2" fmla="*/ 1240404 w 1240404"/>
              <a:gd name="connsiteY2" fmla="*/ 894521 h 894521"/>
              <a:gd name="connsiteX3" fmla="*/ 0 w 1240404"/>
              <a:gd name="connsiteY3" fmla="*/ 894521 h 894521"/>
              <a:gd name="connsiteX4" fmla="*/ 47708 w 1240404"/>
              <a:gd name="connsiteY4" fmla="*/ 7951 h 894521"/>
              <a:gd name="connsiteX0" fmla="*/ 0 w 1192696"/>
              <a:gd name="connsiteY0" fmla="*/ 7951 h 894521"/>
              <a:gd name="connsiteX1" fmla="*/ 1144988 w 1192696"/>
              <a:gd name="connsiteY1" fmla="*/ 0 h 894521"/>
              <a:gd name="connsiteX2" fmla="*/ 1192696 w 1192696"/>
              <a:gd name="connsiteY2" fmla="*/ 894521 h 894521"/>
              <a:gd name="connsiteX3" fmla="*/ 19879 w 1192696"/>
              <a:gd name="connsiteY3" fmla="*/ 560566 h 894521"/>
              <a:gd name="connsiteX4" fmla="*/ 0 w 1192696"/>
              <a:gd name="connsiteY4" fmla="*/ 7951 h 894521"/>
              <a:gd name="connsiteX0" fmla="*/ 0 w 1144988"/>
              <a:gd name="connsiteY0" fmla="*/ 7951 h 568518"/>
              <a:gd name="connsiteX1" fmla="*/ 1144988 w 1144988"/>
              <a:gd name="connsiteY1" fmla="*/ 0 h 568518"/>
              <a:gd name="connsiteX2" fmla="*/ 1141012 w 1144988"/>
              <a:gd name="connsiteY2" fmla="*/ 568518 h 568518"/>
              <a:gd name="connsiteX3" fmla="*/ 19879 w 1144988"/>
              <a:gd name="connsiteY3" fmla="*/ 560566 h 568518"/>
              <a:gd name="connsiteX4" fmla="*/ 0 w 1144988"/>
              <a:gd name="connsiteY4" fmla="*/ 7951 h 568518"/>
              <a:gd name="connsiteX0" fmla="*/ 0 w 1144988"/>
              <a:gd name="connsiteY0" fmla="*/ 323360 h 883927"/>
              <a:gd name="connsiteX1" fmla="*/ 1144988 w 1144988"/>
              <a:gd name="connsiteY1" fmla="*/ 315409 h 883927"/>
              <a:gd name="connsiteX2" fmla="*/ 1141012 w 1144988"/>
              <a:gd name="connsiteY2" fmla="*/ 883927 h 883927"/>
              <a:gd name="connsiteX3" fmla="*/ 19879 w 1144988"/>
              <a:gd name="connsiteY3" fmla="*/ 875975 h 883927"/>
              <a:gd name="connsiteX4" fmla="*/ 0 w 1144988"/>
              <a:gd name="connsiteY4" fmla="*/ 323360 h 883927"/>
              <a:gd name="connsiteX0" fmla="*/ 0 w 1144988"/>
              <a:gd name="connsiteY0" fmla="*/ 369785 h 930352"/>
              <a:gd name="connsiteX1" fmla="*/ 1144988 w 1144988"/>
              <a:gd name="connsiteY1" fmla="*/ 361834 h 930352"/>
              <a:gd name="connsiteX2" fmla="*/ 1141012 w 1144988"/>
              <a:gd name="connsiteY2" fmla="*/ 930352 h 930352"/>
              <a:gd name="connsiteX3" fmla="*/ 19879 w 1144988"/>
              <a:gd name="connsiteY3" fmla="*/ 922400 h 930352"/>
              <a:gd name="connsiteX4" fmla="*/ 0 w 1144988"/>
              <a:gd name="connsiteY4" fmla="*/ 369785 h 930352"/>
              <a:gd name="connsiteX0" fmla="*/ 0 w 1144988"/>
              <a:gd name="connsiteY0" fmla="*/ 352359 h 912926"/>
              <a:gd name="connsiteX1" fmla="*/ 1144988 w 1144988"/>
              <a:gd name="connsiteY1" fmla="*/ 344408 h 912926"/>
              <a:gd name="connsiteX2" fmla="*/ 1141012 w 1144988"/>
              <a:gd name="connsiteY2" fmla="*/ 912926 h 912926"/>
              <a:gd name="connsiteX3" fmla="*/ 19879 w 1144988"/>
              <a:gd name="connsiteY3" fmla="*/ 904974 h 912926"/>
              <a:gd name="connsiteX4" fmla="*/ 0 w 1144988"/>
              <a:gd name="connsiteY4" fmla="*/ 352359 h 912926"/>
              <a:gd name="connsiteX0" fmla="*/ 0 w 1144988"/>
              <a:gd name="connsiteY0" fmla="*/ 356676 h 917243"/>
              <a:gd name="connsiteX1" fmla="*/ 1144988 w 1144988"/>
              <a:gd name="connsiteY1" fmla="*/ 348725 h 917243"/>
              <a:gd name="connsiteX2" fmla="*/ 1141012 w 1144988"/>
              <a:gd name="connsiteY2" fmla="*/ 917243 h 917243"/>
              <a:gd name="connsiteX3" fmla="*/ 19879 w 1144988"/>
              <a:gd name="connsiteY3" fmla="*/ 909291 h 917243"/>
              <a:gd name="connsiteX4" fmla="*/ 0 w 1144988"/>
              <a:gd name="connsiteY4" fmla="*/ 356676 h 917243"/>
              <a:gd name="connsiteX0" fmla="*/ 43555 w 1188543"/>
              <a:gd name="connsiteY0" fmla="*/ 356676 h 917243"/>
              <a:gd name="connsiteX1" fmla="*/ 1188543 w 1188543"/>
              <a:gd name="connsiteY1" fmla="*/ 348725 h 917243"/>
              <a:gd name="connsiteX2" fmla="*/ 1184567 w 1188543"/>
              <a:gd name="connsiteY2" fmla="*/ 917243 h 917243"/>
              <a:gd name="connsiteX3" fmla="*/ 63434 w 1188543"/>
              <a:gd name="connsiteY3" fmla="*/ 909291 h 917243"/>
              <a:gd name="connsiteX4" fmla="*/ 43555 w 1188543"/>
              <a:gd name="connsiteY4" fmla="*/ 356676 h 917243"/>
              <a:gd name="connsiteX0" fmla="*/ 43555 w 1188543"/>
              <a:gd name="connsiteY0" fmla="*/ 356676 h 1221166"/>
              <a:gd name="connsiteX1" fmla="*/ 1188543 w 1188543"/>
              <a:gd name="connsiteY1" fmla="*/ 348725 h 1221166"/>
              <a:gd name="connsiteX2" fmla="*/ 1184567 w 1188543"/>
              <a:gd name="connsiteY2" fmla="*/ 917243 h 1221166"/>
              <a:gd name="connsiteX3" fmla="*/ 63434 w 1188543"/>
              <a:gd name="connsiteY3" fmla="*/ 909291 h 1221166"/>
              <a:gd name="connsiteX4" fmla="*/ 43555 w 1188543"/>
              <a:gd name="connsiteY4" fmla="*/ 356676 h 1221166"/>
              <a:gd name="connsiteX0" fmla="*/ 43555 w 1188543"/>
              <a:gd name="connsiteY0" fmla="*/ 356676 h 1241708"/>
              <a:gd name="connsiteX1" fmla="*/ 1188543 w 1188543"/>
              <a:gd name="connsiteY1" fmla="*/ 348725 h 1241708"/>
              <a:gd name="connsiteX2" fmla="*/ 1184567 w 1188543"/>
              <a:gd name="connsiteY2" fmla="*/ 917243 h 1241708"/>
              <a:gd name="connsiteX3" fmla="*/ 63434 w 1188543"/>
              <a:gd name="connsiteY3" fmla="*/ 909291 h 1241708"/>
              <a:gd name="connsiteX4" fmla="*/ 43555 w 1188543"/>
              <a:gd name="connsiteY4" fmla="*/ 356676 h 1241708"/>
              <a:gd name="connsiteX0" fmla="*/ 43555 w 1196494"/>
              <a:gd name="connsiteY0" fmla="*/ 354020 h 1239052"/>
              <a:gd name="connsiteX1" fmla="*/ 1196494 w 1196494"/>
              <a:gd name="connsiteY1" fmla="*/ 350045 h 1239052"/>
              <a:gd name="connsiteX2" fmla="*/ 1184567 w 1196494"/>
              <a:gd name="connsiteY2" fmla="*/ 914587 h 1239052"/>
              <a:gd name="connsiteX3" fmla="*/ 63434 w 1196494"/>
              <a:gd name="connsiteY3" fmla="*/ 906635 h 1239052"/>
              <a:gd name="connsiteX4" fmla="*/ 43555 w 1196494"/>
              <a:gd name="connsiteY4" fmla="*/ 354020 h 1239052"/>
              <a:gd name="connsiteX0" fmla="*/ 43555 w 1228655"/>
              <a:gd name="connsiteY0" fmla="*/ 354020 h 1239052"/>
              <a:gd name="connsiteX1" fmla="*/ 1196494 w 1228655"/>
              <a:gd name="connsiteY1" fmla="*/ 350045 h 1239052"/>
              <a:gd name="connsiteX2" fmla="*/ 1184567 w 1228655"/>
              <a:gd name="connsiteY2" fmla="*/ 914587 h 1239052"/>
              <a:gd name="connsiteX3" fmla="*/ 63434 w 1228655"/>
              <a:gd name="connsiteY3" fmla="*/ 906635 h 1239052"/>
              <a:gd name="connsiteX4" fmla="*/ 43555 w 1228655"/>
              <a:gd name="connsiteY4" fmla="*/ 354020 h 1239052"/>
              <a:gd name="connsiteX0" fmla="*/ 43555 w 1228655"/>
              <a:gd name="connsiteY0" fmla="*/ 354020 h 1242993"/>
              <a:gd name="connsiteX1" fmla="*/ 1196494 w 1228655"/>
              <a:gd name="connsiteY1" fmla="*/ 350045 h 1242993"/>
              <a:gd name="connsiteX2" fmla="*/ 1184567 w 1228655"/>
              <a:gd name="connsiteY2" fmla="*/ 914587 h 1242993"/>
              <a:gd name="connsiteX3" fmla="*/ 63434 w 1228655"/>
              <a:gd name="connsiteY3" fmla="*/ 906635 h 1242993"/>
              <a:gd name="connsiteX4" fmla="*/ 43555 w 1228655"/>
              <a:gd name="connsiteY4" fmla="*/ 354020 h 1242993"/>
              <a:gd name="connsiteX0" fmla="*/ 43555 w 1225465"/>
              <a:gd name="connsiteY0" fmla="*/ 354020 h 1242993"/>
              <a:gd name="connsiteX1" fmla="*/ 1196494 w 1225465"/>
              <a:gd name="connsiteY1" fmla="*/ 350045 h 1242993"/>
              <a:gd name="connsiteX2" fmla="*/ 1168664 w 1225465"/>
              <a:gd name="connsiteY2" fmla="*/ 914587 h 1242993"/>
              <a:gd name="connsiteX3" fmla="*/ 63434 w 1225465"/>
              <a:gd name="connsiteY3" fmla="*/ 906635 h 1242993"/>
              <a:gd name="connsiteX4" fmla="*/ 43555 w 1225465"/>
              <a:gd name="connsiteY4" fmla="*/ 354020 h 1242993"/>
              <a:gd name="connsiteX0" fmla="*/ 43555 w 1231406"/>
              <a:gd name="connsiteY0" fmla="*/ 354020 h 1242993"/>
              <a:gd name="connsiteX1" fmla="*/ 1196494 w 1231406"/>
              <a:gd name="connsiteY1" fmla="*/ 350045 h 1242993"/>
              <a:gd name="connsiteX2" fmla="*/ 1168664 w 1231406"/>
              <a:gd name="connsiteY2" fmla="*/ 914587 h 1242993"/>
              <a:gd name="connsiteX3" fmla="*/ 63434 w 1231406"/>
              <a:gd name="connsiteY3" fmla="*/ 906635 h 1242993"/>
              <a:gd name="connsiteX4" fmla="*/ 43555 w 1231406"/>
              <a:gd name="connsiteY4" fmla="*/ 354020 h 1242993"/>
              <a:gd name="connsiteX0" fmla="*/ 43555 w 1231406"/>
              <a:gd name="connsiteY0" fmla="*/ 354020 h 1237106"/>
              <a:gd name="connsiteX1" fmla="*/ 1196494 w 1231406"/>
              <a:gd name="connsiteY1" fmla="*/ 350045 h 1237106"/>
              <a:gd name="connsiteX2" fmla="*/ 1168664 w 1231406"/>
              <a:gd name="connsiteY2" fmla="*/ 914587 h 1237106"/>
              <a:gd name="connsiteX3" fmla="*/ 63434 w 1231406"/>
              <a:gd name="connsiteY3" fmla="*/ 906635 h 1237106"/>
              <a:gd name="connsiteX4" fmla="*/ 43555 w 1231406"/>
              <a:gd name="connsiteY4" fmla="*/ 354020 h 1237106"/>
              <a:gd name="connsiteX0" fmla="*/ 46630 w 1234481"/>
              <a:gd name="connsiteY0" fmla="*/ 354020 h 1237106"/>
              <a:gd name="connsiteX1" fmla="*/ 1199569 w 1234481"/>
              <a:gd name="connsiteY1" fmla="*/ 350045 h 1237106"/>
              <a:gd name="connsiteX2" fmla="*/ 1171739 w 1234481"/>
              <a:gd name="connsiteY2" fmla="*/ 914587 h 1237106"/>
              <a:gd name="connsiteX3" fmla="*/ 66509 w 1234481"/>
              <a:gd name="connsiteY3" fmla="*/ 906635 h 1237106"/>
              <a:gd name="connsiteX4" fmla="*/ 46630 w 1234481"/>
              <a:gd name="connsiteY4" fmla="*/ 354020 h 1237106"/>
              <a:gd name="connsiteX0" fmla="*/ 46630 w 1234481"/>
              <a:gd name="connsiteY0" fmla="*/ 354020 h 1237106"/>
              <a:gd name="connsiteX1" fmla="*/ 1199569 w 1234481"/>
              <a:gd name="connsiteY1" fmla="*/ 350045 h 1237106"/>
              <a:gd name="connsiteX2" fmla="*/ 1171739 w 1234481"/>
              <a:gd name="connsiteY2" fmla="*/ 914587 h 1237106"/>
              <a:gd name="connsiteX3" fmla="*/ 66509 w 1234481"/>
              <a:gd name="connsiteY3" fmla="*/ 906635 h 1237106"/>
              <a:gd name="connsiteX4" fmla="*/ 46630 w 1234481"/>
              <a:gd name="connsiteY4" fmla="*/ 354020 h 1237106"/>
              <a:gd name="connsiteX0" fmla="*/ 46630 w 1236571"/>
              <a:gd name="connsiteY0" fmla="*/ 354020 h 1232579"/>
              <a:gd name="connsiteX1" fmla="*/ 1199569 w 1236571"/>
              <a:gd name="connsiteY1" fmla="*/ 350045 h 1232579"/>
              <a:gd name="connsiteX2" fmla="*/ 1179690 w 1236571"/>
              <a:gd name="connsiteY2" fmla="*/ 898684 h 1232579"/>
              <a:gd name="connsiteX3" fmla="*/ 66509 w 1236571"/>
              <a:gd name="connsiteY3" fmla="*/ 906635 h 1232579"/>
              <a:gd name="connsiteX4" fmla="*/ 46630 w 1236571"/>
              <a:gd name="connsiteY4" fmla="*/ 354020 h 1232579"/>
              <a:gd name="connsiteX0" fmla="*/ 46630 w 1228232"/>
              <a:gd name="connsiteY0" fmla="*/ 354020 h 1232579"/>
              <a:gd name="connsiteX1" fmla="*/ 1187642 w 1228232"/>
              <a:gd name="connsiteY1" fmla="*/ 350045 h 1232579"/>
              <a:gd name="connsiteX2" fmla="*/ 1179690 w 1228232"/>
              <a:gd name="connsiteY2" fmla="*/ 898684 h 1232579"/>
              <a:gd name="connsiteX3" fmla="*/ 66509 w 1228232"/>
              <a:gd name="connsiteY3" fmla="*/ 906635 h 1232579"/>
              <a:gd name="connsiteX4" fmla="*/ 46630 w 1228232"/>
              <a:gd name="connsiteY4" fmla="*/ 354020 h 1232579"/>
              <a:gd name="connsiteX0" fmla="*/ 57792 w 1223492"/>
              <a:gd name="connsiteY0" fmla="*/ 354020 h 1232579"/>
              <a:gd name="connsiteX1" fmla="*/ 1182902 w 1223492"/>
              <a:gd name="connsiteY1" fmla="*/ 350045 h 1232579"/>
              <a:gd name="connsiteX2" fmla="*/ 1174950 w 1223492"/>
              <a:gd name="connsiteY2" fmla="*/ 898684 h 1232579"/>
              <a:gd name="connsiteX3" fmla="*/ 61769 w 1223492"/>
              <a:gd name="connsiteY3" fmla="*/ 906635 h 1232579"/>
              <a:gd name="connsiteX4" fmla="*/ 57792 w 1223492"/>
              <a:gd name="connsiteY4" fmla="*/ 354020 h 1232579"/>
              <a:gd name="connsiteX0" fmla="*/ 57792 w 1221035"/>
              <a:gd name="connsiteY0" fmla="*/ 354020 h 1230359"/>
              <a:gd name="connsiteX1" fmla="*/ 1182902 w 1221035"/>
              <a:gd name="connsiteY1" fmla="*/ 350045 h 1230359"/>
              <a:gd name="connsiteX2" fmla="*/ 1166999 w 1221035"/>
              <a:gd name="connsiteY2" fmla="*/ 890733 h 1230359"/>
              <a:gd name="connsiteX3" fmla="*/ 61769 w 1221035"/>
              <a:gd name="connsiteY3" fmla="*/ 906635 h 1230359"/>
              <a:gd name="connsiteX4" fmla="*/ 57792 w 1221035"/>
              <a:gd name="connsiteY4" fmla="*/ 354020 h 1230359"/>
              <a:gd name="connsiteX0" fmla="*/ 57792 w 1226347"/>
              <a:gd name="connsiteY0" fmla="*/ 354020 h 1230359"/>
              <a:gd name="connsiteX1" fmla="*/ 1182902 w 1226347"/>
              <a:gd name="connsiteY1" fmla="*/ 350045 h 1230359"/>
              <a:gd name="connsiteX2" fmla="*/ 1166999 w 1226347"/>
              <a:gd name="connsiteY2" fmla="*/ 890733 h 1230359"/>
              <a:gd name="connsiteX3" fmla="*/ 61769 w 1226347"/>
              <a:gd name="connsiteY3" fmla="*/ 906635 h 1230359"/>
              <a:gd name="connsiteX4" fmla="*/ 57792 w 1226347"/>
              <a:gd name="connsiteY4" fmla="*/ 354020 h 1230359"/>
              <a:gd name="connsiteX0" fmla="*/ 57792 w 1229791"/>
              <a:gd name="connsiteY0" fmla="*/ 354020 h 1230359"/>
              <a:gd name="connsiteX1" fmla="*/ 1182902 w 1229791"/>
              <a:gd name="connsiteY1" fmla="*/ 350045 h 1230359"/>
              <a:gd name="connsiteX2" fmla="*/ 1166999 w 1229791"/>
              <a:gd name="connsiteY2" fmla="*/ 890733 h 1230359"/>
              <a:gd name="connsiteX3" fmla="*/ 61769 w 1229791"/>
              <a:gd name="connsiteY3" fmla="*/ 906635 h 1230359"/>
              <a:gd name="connsiteX4" fmla="*/ 57792 w 1229791"/>
              <a:gd name="connsiteY4" fmla="*/ 354020 h 1230359"/>
              <a:gd name="connsiteX0" fmla="*/ 57792 w 1229791"/>
              <a:gd name="connsiteY0" fmla="*/ 343619 h 1219958"/>
              <a:gd name="connsiteX1" fmla="*/ 1182902 w 1229791"/>
              <a:gd name="connsiteY1" fmla="*/ 339644 h 1219958"/>
              <a:gd name="connsiteX2" fmla="*/ 1166999 w 1229791"/>
              <a:gd name="connsiteY2" fmla="*/ 880332 h 1219958"/>
              <a:gd name="connsiteX3" fmla="*/ 61769 w 1229791"/>
              <a:gd name="connsiteY3" fmla="*/ 896234 h 1219958"/>
              <a:gd name="connsiteX4" fmla="*/ 57792 w 1229791"/>
              <a:gd name="connsiteY4" fmla="*/ 343619 h 1219958"/>
              <a:gd name="connsiteX0" fmla="*/ 57792 w 1229791"/>
              <a:gd name="connsiteY0" fmla="*/ 358303 h 1234642"/>
              <a:gd name="connsiteX1" fmla="*/ 1182902 w 1229791"/>
              <a:gd name="connsiteY1" fmla="*/ 354328 h 1234642"/>
              <a:gd name="connsiteX2" fmla="*/ 1166999 w 1229791"/>
              <a:gd name="connsiteY2" fmla="*/ 895016 h 1234642"/>
              <a:gd name="connsiteX3" fmla="*/ 61769 w 1229791"/>
              <a:gd name="connsiteY3" fmla="*/ 910918 h 1234642"/>
              <a:gd name="connsiteX4" fmla="*/ 57792 w 1229791"/>
              <a:gd name="connsiteY4" fmla="*/ 358303 h 1234642"/>
              <a:gd name="connsiteX0" fmla="*/ 60697 w 1232696"/>
              <a:gd name="connsiteY0" fmla="*/ 358303 h 1234642"/>
              <a:gd name="connsiteX1" fmla="*/ 1185807 w 1232696"/>
              <a:gd name="connsiteY1" fmla="*/ 354328 h 1234642"/>
              <a:gd name="connsiteX2" fmla="*/ 1169904 w 1232696"/>
              <a:gd name="connsiteY2" fmla="*/ 895016 h 1234642"/>
              <a:gd name="connsiteX3" fmla="*/ 64674 w 1232696"/>
              <a:gd name="connsiteY3" fmla="*/ 910918 h 1234642"/>
              <a:gd name="connsiteX4" fmla="*/ 60697 w 1232696"/>
              <a:gd name="connsiteY4" fmla="*/ 358303 h 1234642"/>
              <a:gd name="connsiteX0" fmla="*/ 60697 w 1232696"/>
              <a:gd name="connsiteY0" fmla="*/ 358303 h 1234642"/>
              <a:gd name="connsiteX1" fmla="*/ 1185807 w 1232696"/>
              <a:gd name="connsiteY1" fmla="*/ 354328 h 1234642"/>
              <a:gd name="connsiteX2" fmla="*/ 1169904 w 1232696"/>
              <a:gd name="connsiteY2" fmla="*/ 895016 h 1234642"/>
              <a:gd name="connsiteX3" fmla="*/ 64674 w 1232696"/>
              <a:gd name="connsiteY3" fmla="*/ 910918 h 1234642"/>
              <a:gd name="connsiteX4" fmla="*/ 60697 w 1232696"/>
              <a:gd name="connsiteY4" fmla="*/ 358303 h 1234642"/>
              <a:gd name="connsiteX0" fmla="*/ 52537 w 1224536"/>
              <a:gd name="connsiteY0" fmla="*/ 358303 h 1254926"/>
              <a:gd name="connsiteX1" fmla="*/ 1177647 w 1224536"/>
              <a:gd name="connsiteY1" fmla="*/ 354328 h 1254926"/>
              <a:gd name="connsiteX2" fmla="*/ 1161744 w 1224536"/>
              <a:gd name="connsiteY2" fmla="*/ 895016 h 1254926"/>
              <a:gd name="connsiteX3" fmla="*/ 68441 w 1224536"/>
              <a:gd name="connsiteY3" fmla="*/ 938748 h 1254926"/>
              <a:gd name="connsiteX4" fmla="*/ 52537 w 1224536"/>
              <a:gd name="connsiteY4" fmla="*/ 358303 h 1254926"/>
              <a:gd name="connsiteX0" fmla="*/ 57749 w 1229748"/>
              <a:gd name="connsiteY0" fmla="*/ 358303 h 1254926"/>
              <a:gd name="connsiteX1" fmla="*/ 1182859 w 1229748"/>
              <a:gd name="connsiteY1" fmla="*/ 354328 h 1254926"/>
              <a:gd name="connsiteX2" fmla="*/ 1166956 w 1229748"/>
              <a:gd name="connsiteY2" fmla="*/ 895016 h 1254926"/>
              <a:gd name="connsiteX3" fmla="*/ 73653 w 1229748"/>
              <a:gd name="connsiteY3" fmla="*/ 938748 h 1254926"/>
              <a:gd name="connsiteX4" fmla="*/ 57749 w 1229748"/>
              <a:gd name="connsiteY4" fmla="*/ 358303 h 1254926"/>
              <a:gd name="connsiteX0" fmla="*/ 57749 w 1229748"/>
              <a:gd name="connsiteY0" fmla="*/ 359462 h 1256085"/>
              <a:gd name="connsiteX1" fmla="*/ 1182859 w 1229748"/>
              <a:gd name="connsiteY1" fmla="*/ 355487 h 1256085"/>
              <a:gd name="connsiteX2" fmla="*/ 1166956 w 1229748"/>
              <a:gd name="connsiteY2" fmla="*/ 896175 h 1256085"/>
              <a:gd name="connsiteX3" fmla="*/ 73653 w 1229748"/>
              <a:gd name="connsiteY3" fmla="*/ 939907 h 1256085"/>
              <a:gd name="connsiteX4" fmla="*/ 57749 w 1229748"/>
              <a:gd name="connsiteY4" fmla="*/ 359462 h 1256085"/>
              <a:gd name="connsiteX0" fmla="*/ 57749 w 1229748"/>
              <a:gd name="connsiteY0" fmla="*/ 349210 h 1245833"/>
              <a:gd name="connsiteX1" fmla="*/ 1182859 w 1229748"/>
              <a:gd name="connsiteY1" fmla="*/ 345235 h 1245833"/>
              <a:gd name="connsiteX2" fmla="*/ 1166956 w 1229748"/>
              <a:gd name="connsiteY2" fmla="*/ 885923 h 1245833"/>
              <a:gd name="connsiteX3" fmla="*/ 73653 w 1229748"/>
              <a:gd name="connsiteY3" fmla="*/ 929655 h 1245833"/>
              <a:gd name="connsiteX4" fmla="*/ 57749 w 1229748"/>
              <a:gd name="connsiteY4" fmla="*/ 349210 h 1245833"/>
              <a:gd name="connsiteX0" fmla="*/ 57749 w 1229748"/>
              <a:gd name="connsiteY0" fmla="*/ 354332 h 1250955"/>
              <a:gd name="connsiteX1" fmla="*/ 1182859 w 1229748"/>
              <a:gd name="connsiteY1" fmla="*/ 350357 h 1250955"/>
              <a:gd name="connsiteX2" fmla="*/ 1166956 w 1229748"/>
              <a:gd name="connsiteY2" fmla="*/ 891045 h 1250955"/>
              <a:gd name="connsiteX3" fmla="*/ 73653 w 1229748"/>
              <a:gd name="connsiteY3" fmla="*/ 934777 h 1250955"/>
              <a:gd name="connsiteX4" fmla="*/ 57749 w 1229748"/>
              <a:gd name="connsiteY4" fmla="*/ 354332 h 1250955"/>
              <a:gd name="connsiteX0" fmla="*/ 57749 w 1231476"/>
              <a:gd name="connsiteY0" fmla="*/ 354332 h 1250955"/>
              <a:gd name="connsiteX1" fmla="*/ 1182859 w 1231476"/>
              <a:gd name="connsiteY1" fmla="*/ 350357 h 1250955"/>
              <a:gd name="connsiteX2" fmla="*/ 1166956 w 1231476"/>
              <a:gd name="connsiteY2" fmla="*/ 891045 h 1250955"/>
              <a:gd name="connsiteX3" fmla="*/ 73653 w 1231476"/>
              <a:gd name="connsiteY3" fmla="*/ 934777 h 1250955"/>
              <a:gd name="connsiteX4" fmla="*/ 57749 w 1231476"/>
              <a:gd name="connsiteY4" fmla="*/ 354332 h 1250955"/>
              <a:gd name="connsiteX0" fmla="*/ 57749 w 1231476"/>
              <a:gd name="connsiteY0" fmla="*/ 354332 h 1231521"/>
              <a:gd name="connsiteX1" fmla="*/ 1182859 w 1231476"/>
              <a:gd name="connsiteY1" fmla="*/ 350357 h 1231521"/>
              <a:gd name="connsiteX2" fmla="*/ 1166956 w 1231476"/>
              <a:gd name="connsiteY2" fmla="*/ 891045 h 1231521"/>
              <a:gd name="connsiteX3" fmla="*/ 73653 w 1231476"/>
              <a:gd name="connsiteY3" fmla="*/ 934777 h 1231521"/>
              <a:gd name="connsiteX4" fmla="*/ 57749 w 1231476"/>
              <a:gd name="connsiteY4" fmla="*/ 354332 h 1231521"/>
              <a:gd name="connsiteX0" fmla="*/ 57749 w 1231476"/>
              <a:gd name="connsiteY0" fmla="*/ 354332 h 1233288"/>
              <a:gd name="connsiteX1" fmla="*/ 1182859 w 1231476"/>
              <a:gd name="connsiteY1" fmla="*/ 350357 h 1233288"/>
              <a:gd name="connsiteX2" fmla="*/ 1166956 w 1231476"/>
              <a:gd name="connsiteY2" fmla="*/ 891045 h 1233288"/>
              <a:gd name="connsiteX3" fmla="*/ 73653 w 1231476"/>
              <a:gd name="connsiteY3" fmla="*/ 934777 h 1233288"/>
              <a:gd name="connsiteX4" fmla="*/ 57749 w 1231476"/>
              <a:gd name="connsiteY4" fmla="*/ 354332 h 1233288"/>
              <a:gd name="connsiteX0" fmla="*/ 57749 w 1231476"/>
              <a:gd name="connsiteY0" fmla="*/ 354332 h 1237847"/>
              <a:gd name="connsiteX1" fmla="*/ 1182859 w 1231476"/>
              <a:gd name="connsiteY1" fmla="*/ 350357 h 1237847"/>
              <a:gd name="connsiteX2" fmla="*/ 1166956 w 1231476"/>
              <a:gd name="connsiteY2" fmla="*/ 891045 h 1237847"/>
              <a:gd name="connsiteX3" fmla="*/ 73653 w 1231476"/>
              <a:gd name="connsiteY3" fmla="*/ 934777 h 1237847"/>
              <a:gd name="connsiteX4" fmla="*/ 57749 w 1231476"/>
              <a:gd name="connsiteY4" fmla="*/ 354332 h 123784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31476" h="1237847">
                <a:moveTo>
                  <a:pt x="57749" y="354332"/>
                </a:moveTo>
                <a:cubicBezTo>
                  <a:pt x="161115" y="89289"/>
                  <a:pt x="741561" y="-287073"/>
                  <a:pt x="1182859" y="350357"/>
                </a:cubicBezTo>
                <a:cubicBezTo>
                  <a:pt x="1272973" y="651182"/>
                  <a:pt x="1219965" y="761173"/>
                  <a:pt x="1166956" y="891045"/>
                </a:cubicBezTo>
                <a:cubicBezTo>
                  <a:pt x="1186836" y="987785"/>
                  <a:pt x="602415" y="1593410"/>
                  <a:pt x="73653" y="934777"/>
                </a:cubicBezTo>
                <a:cubicBezTo>
                  <a:pt x="-72121" y="595521"/>
                  <a:pt x="40521" y="439145"/>
                  <a:pt x="57749" y="354332"/>
                </a:cubicBezTo>
                <a:close/>
              </a:path>
            </a:pathLst>
          </a:custGeom>
        </p:spPr>
        <p:txBody>
          <a:bodyPr/>
          <a:lstStyle>
            <a:lvl1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70347975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6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6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600"/>
                            </p:stCondLst>
                            <p:childTnLst>
                              <p:par>
                                <p:cTn id="1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13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3" grpId="0"/>
    </p:bldLst>
  </p:timing>
  <p:extLst>
    <p:ext uri="{DCECCB84-F9BA-43D5-87BE-67443E8EF086}">
      <p15:sldGuideLst xmlns:p15="http://schemas.microsoft.com/office/powerpoint/2012/main">
        <p15:guide id="1" orient="horz" pos="2004" userDrawn="1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7_Referenz - Tabel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806468" y="523507"/>
            <a:ext cx="5287433" cy="314156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100" b="1" u="sng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 err="1"/>
              <a:t>aws</a:t>
            </a:r>
            <a:r>
              <a:rPr lang="de-DE" dirty="0"/>
              <a:t> Produkttitel</a:t>
            </a:r>
          </a:p>
        </p:txBody>
      </p:sp>
      <p:sp>
        <p:nvSpPr>
          <p:cNvPr id="4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814931" y="1785276"/>
            <a:ext cx="10564284" cy="664615"/>
          </a:xfrm>
          <a:prstGeom prst="rect">
            <a:avLst/>
          </a:prstGeom>
        </p:spPr>
        <p:txBody>
          <a:bodyPr vert="horz" lIns="0" tIns="0" rIns="0" bIns="0" anchor="b"/>
          <a:lstStyle>
            <a:lvl1pPr marL="0" indent="0">
              <a:buFontTx/>
              <a:buNone/>
              <a:defRPr sz="2400" b="1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AT" dirty="0"/>
              <a:t>Mastertextformat bearbeiten</a:t>
            </a:r>
          </a:p>
        </p:txBody>
      </p:sp>
      <p:sp>
        <p:nvSpPr>
          <p:cNvPr id="5" name="Bildplatzhalter 2"/>
          <p:cNvSpPr>
            <a:spLocks noGrp="1"/>
          </p:cNvSpPr>
          <p:nvPr>
            <p:ph type="pic" sz="quarter" idx="13"/>
          </p:nvPr>
        </p:nvSpPr>
        <p:spPr>
          <a:xfrm>
            <a:off x="817157" y="1076095"/>
            <a:ext cx="3627526" cy="581255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9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8168610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73" userDrawn="1">
          <p15:clr>
            <a:srgbClr val="FBAE40"/>
          </p15:clr>
        </p15:guide>
        <p15:guide id="2" pos="3840" userDrawn="1">
          <p15:clr>
            <a:srgbClr val="FBAE40"/>
          </p15:clr>
        </p15:guide>
        <p15:guide id="3" orient="horz" pos="1541" userDrawn="1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8_Referenz - Tabell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807523" y="1444639"/>
            <a:ext cx="10571692" cy="1005247"/>
          </a:xfrm>
          <a:prstGeom prst="rect">
            <a:avLst/>
          </a:prstGeom>
        </p:spPr>
        <p:txBody>
          <a:bodyPr vert="horz" lIns="0" tIns="0" rIns="0" bIns="0" anchor="b"/>
          <a:lstStyle>
            <a:lvl1pPr marL="0" indent="0">
              <a:buFontTx/>
              <a:buNone/>
              <a:defRPr sz="2400" b="1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AT" dirty="0"/>
              <a:t>Mastertextformat bearbeiten</a:t>
            </a:r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806468" y="523507"/>
            <a:ext cx="5287433" cy="314156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100" b="1" u="sng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 err="1"/>
              <a:t>aws</a:t>
            </a:r>
            <a:r>
              <a:rPr lang="de-DE" dirty="0"/>
              <a:t> Produkttitel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721754" y="2605891"/>
            <a:ext cx="10565341" cy="914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300">
                <a:solidFill>
                  <a:srgbClr val="00377A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54" indent="0">
              <a:buNone/>
              <a:defRPr sz="13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10" indent="0">
              <a:buNone/>
              <a:defRPr sz="13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464" indent="0">
              <a:buNone/>
              <a:defRPr sz="13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618" indent="0">
              <a:buNone/>
              <a:defRPr sz="13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dirty="0"/>
              <a:t>Formatvorlagen des Textmasters bearbeiten</a:t>
            </a:r>
          </a:p>
        </p:txBody>
      </p:sp>
    </p:spTree>
    <p:extLst>
      <p:ext uri="{BB962C8B-B14F-4D97-AF65-F5344CB8AC3E}">
        <p14:creationId xmlns:p14="http://schemas.microsoft.com/office/powerpoint/2010/main" val="336367820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9_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2005014" y="1444639"/>
            <a:ext cx="9374188" cy="1005247"/>
          </a:xfrm>
          <a:prstGeom prst="rect">
            <a:avLst/>
          </a:prstGeom>
        </p:spPr>
        <p:txBody>
          <a:bodyPr vert="horz" lIns="0" tIns="0" rIns="0" bIns="0" anchor="b"/>
          <a:lstStyle>
            <a:lvl1pPr marL="0" indent="0">
              <a:buFontTx/>
              <a:buNone/>
              <a:defRPr sz="2400" b="1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AT" dirty="0"/>
              <a:t>Mastertextformat bearbeiten</a:t>
            </a:r>
          </a:p>
        </p:txBody>
      </p:sp>
      <p:sp>
        <p:nvSpPr>
          <p:cNvPr id="7" name="Tabellenplatzhalter 6"/>
          <p:cNvSpPr>
            <a:spLocks noGrp="1"/>
          </p:cNvSpPr>
          <p:nvPr>
            <p:ph type="tbl" sz="quarter" idx="11"/>
          </p:nvPr>
        </p:nvSpPr>
        <p:spPr>
          <a:xfrm>
            <a:off x="2005014" y="2682873"/>
            <a:ext cx="9374201" cy="3420000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1200">
                <a:latin typeface="Arial"/>
                <a:cs typeface="Arial"/>
              </a:defRPr>
            </a:lvl1pPr>
          </a:lstStyle>
          <a:p>
            <a:r>
              <a:rPr lang="de-DE" dirty="0"/>
              <a:t>Tabelle</a:t>
            </a:r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806468" y="523507"/>
            <a:ext cx="5287433" cy="314156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100" b="1" u="sng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 err="1"/>
              <a:t>aws</a:t>
            </a:r>
            <a:r>
              <a:rPr lang="de-DE" dirty="0"/>
              <a:t> Produkttitel</a:t>
            </a:r>
          </a:p>
        </p:txBody>
      </p:sp>
      <p:pic>
        <p:nvPicPr>
          <p:cNvPr id="6" name="Bild 2" descr="pfeil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755"/>
          <a:stretch/>
        </p:blipFill>
        <p:spPr>
          <a:xfrm>
            <a:off x="-1" y="2277047"/>
            <a:ext cx="1833283" cy="2313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98479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111" userDrawn="1">
          <p15:clr>
            <a:srgbClr val="FBAE40"/>
          </p15:clr>
        </p15:guide>
        <p15:guide id="2" orient="horz" pos="1548" userDrawn="1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Balken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iagrammplatzhalter 2"/>
          <p:cNvSpPr>
            <a:spLocks noGrp="1"/>
          </p:cNvSpPr>
          <p:nvPr>
            <p:ph type="chart" sz="quarter" idx="14" hasCustomPrompt="1"/>
          </p:nvPr>
        </p:nvSpPr>
        <p:spPr>
          <a:xfrm>
            <a:off x="2005014" y="2682261"/>
            <a:ext cx="9384777" cy="3084965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200" baseline="0">
                <a:latin typeface="Arial" charset="0"/>
              </a:defRPr>
            </a:lvl1pPr>
          </a:lstStyle>
          <a:p>
            <a:r>
              <a:rPr lang="de-DE" dirty="0"/>
              <a:t>Balkendiagramm einfügen</a:t>
            </a:r>
          </a:p>
        </p:txBody>
      </p:sp>
      <p:sp>
        <p:nvSpPr>
          <p:cNvPr id="9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806468" y="523507"/>
            <a:ext cx="5287433" cy="314156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100" b="1" u="sng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 err="1"/>
              <a:t>aws</a:t>
            </a:r>
            <a:r>
              <a:rPr lang="de-DE" dirty="0"/>
              <a:t> Produkttitel</a:t>
            </a:r>
          </a:p>
        </p:txBody>
      </p:sp>
      <p:sp>
        <p:nvSpPr>
          <p:cNvPr id="8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2005014" y="1444639"/>
            <a:ext cx="9374188" cy="1005247"/>
          </a:xfrm>
          <a:prstGeom prst="rect">
            <a:avLst/>
          </a:prstGeom>
        </p:spPr>
        <p:txBody>
          <a:bodyPr vert="horz" lIns="0" tIns="0" rIns="0" bIns="0" anchor="b"/>
          <a:lstStyle>
            <a:lvl1pPr marL="0" indent="0">
              <a:buFontTx/>
              <a:buNone/>
              <a:defRPr sz="2400" b="1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AT" dirty="0"/>
              <a:t>Mastertextformat bearbeiten</a:t>
            </a:r>
          </a:p>
        </p:txBody>
      </p:sp>
      <p:pic>
        <p:nvPicPr>
          <p:cNvPr id="7" name="Bild 5" descr="pfeil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755"/>
          <a:stretch/>
        </p:blipFill>
        <p:spPr>
          <a:xfrm>
            <a:off x="-1" y="2277047"/>
            <a:ext cx="1833283" cy="2313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92915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675" userDrawn="1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Linien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iagrammplatzhalter 2"/>
          <p:cNvSpPr>
            <a:spLocks noGrp="1"/>
          </p:cNvSpPr>
          <p:nvPr>
            <p:ph type="chart" sz="quarter" idx="14" hasCustomPrompt="1"/>
          </p:nvPr>
        </p:nvSpPr>
        <p:spPr>
          <a:xfrm>
            <a:off x="2005014" y="2682261"/>
            <a:ext cx="9384767" cy="3084965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200" baseline="0">
                <a:latin typeface="Arial" charset="0"/>
              </a:defRPr>
            </a:lvl1pPr>
          </a:lstStyle>
          <a:p>
            <a:r>
              <a:rPr lang="de-DE" dirty="0"/>
              <a:t>Liniendiagramm einfügen</a:t>
            </a:r>
          </a:p>
        </p:txBody>
      </p:sp>
      <p:sp>
        <p:nvSpPr>
          <p:cNvPr id="9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806468" y="523507"/>
            <a:ext cx="5287433" cy="314156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100" b="1" u="sng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 err="1"/>
              <a:t>aws</a:t>
            </a:r>
            <a:r>
              <a:rPr lang="de-DE" dirty="0"/>
              <a:t> Produkttitel</a:t>
            </a:r>
          </a:p>
        </p:txBody>
      </p:sp>
      <p:sp>
        <p:nvSpPr>
          <p:cNvPr id="10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2005014" y="1444639"/>
            <a:ext cx="9374188" cy="1005247"/>
          </a:xfrm>
          <a:prstGeom prst="rect">
            <a:avLst/>
          </a:prstGeom>
        </p:spPr>
        <p:txBody>
          <a:bodyPr vert="horz" lIns="0" tIns="0" rIns="0" bIns="0" anchor="b"/>
          <a:lstStyle>
            <a:lvl1pPr marL="0" indent="0">
              <a:buFontTx/>
              <a:buNone/>
              <a:defRPr sz="2400" b="1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AT" dirty="0"/>
              <a:t>Mastertextformat bearbeiten</a:t>
            </a:r>
          </a:p>
        </p:txBody>
      </p:sp>
      <p:pic>
        <p:nvPicPr>
          <p:cNvPr id="7" name="Bild 5" descr="pfeil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755"/>
          <a:stretch/>
        </p:blipFill>
        <p:spPr>
          <a:xfrm>
            <a:off x="-1" y="2277047"/>
            <a:ext cx="1833283" cy="2313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25839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668" userDrawn="1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orten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806468" y="523507"/>
            <a:ext cx="5287433" cy="314156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100" b="1" u="sng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 err="1"/>
              <a:t>aws</a:t>
            </a:r>
            <a:r>
              <a:rPr lang="de-DE" dirty="0"/>
              <a:t> Produkttitel</a:t>
            </a:r>
          </a:p>
        </p:txBody>
      </p:sp>
      <p:sp>
        <p:nvSpPr>
          <p:cNvPr id="11" name="Textplatzhalter 6"/>
          <p:cNvSpPr>
            <a:spLocks noGrp="1"/>
          </p:cNvSpPr>
          <p:nvPr>
            <p:ph type="body" sz="quarter" idx="19"/>
          </p:nvPr>
        </p:nvSpPr>
        <p:spPr>
          <a:xfrm>
            <a:off x="7357271" y="3056855"/>
            <a:ext cx="3340857" cy="2618249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marR="0" indent="0" algn="l" defTabSz="457154" rtl="0" eaLnBrk="1" fontAlgn="auto" latinLnBrk="0" hangingPunct="1">
              <a:lnSpc>
                <a:spcPct val="110000"/>
              </a:lnSpc>
              <a:spcBef>
                <a:spcPct val="20000"/>
              </a:spcBef>
              <a:spcAft>
                <a:spcPts val="0"/>
              </a:spcAft>
              <a:buClr>
                <a:srgbClr val="00AEEF"/>
              </a:buClr>
              <a:buSzPct val="100000"/>
              <a:buFontTx/>
              <a:buNone/>
              <a:tabLst/>
              <a:defRPr sz="1100" b="0" baseline="0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AT" dirty="0"/>
              <a:t>Mastertextformat bearbeiten</a:t>
            </a:r>
          </a:p>
        </p:txBody>
      </p:sp>
      <p:sp>
        <p:nvSpPr>
          <p:cNvPr id="8" name="Diagrammplatzhalter 2"/>
          <p:cNvSpPr>
            <a:spLocks noGrp="1"/>
          </p:cNvSpPr>
          <p:nvPr>
            <p:ph type="chart" sz="quarter" idx="14" hasCustomPrompt="1"/>
          </p:nvPr>
        </p:nvSpPr>
        <p:spPr>
          <a:xfrm>
            <a:off x="2011003" y="2688310"/>
            <a:ext cx="5211456" cy="3172571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200" baseline="0">
                <a:latin typeface="Arial" charset="0"/>
              </a:defRPr>
            </a:lvl1pPr>
          </a:lstStyle>
          <a:p>
            <a:r>
              <a:rPr lang="de-DE" dirty="0"/>
              <a:t>Diagramm einfügen</a:t>
            </a:r>
          </a:p>
        </p:txBody>
      </p:sp>
      <p:sp>
        <p:nvSpPr>
          <p:cNvPr id="7" name="Textplatzhalter 4"/>
          <p:cNvSpPr>
            <a:spLocks noGrp="1"/>
          </p:cNvSpPr>
          <p:nvPr>
            <p:ph type="body" sz="quarter" idx="10"/>
          </p:nvPr>
        </p:nvSpPr>
        <p:spPr>
          <a:xfrm>
            <a:off x="2005014" y="1444639"/>
            <a:ext cx="9374188" cy="1005247"/>
          </a:xfrm>
          <a:prstGeom prst="rect">
            <a:avLst/>
          </a:prstGeom>
        </p:spPr>
        <p:txBody>
          <a:bodyPr vert="horz" lIns="0" tIns="0" rIns="0" bIns="0" anchor="b"/>
          <a:lstStyle>
            <a:lvl1pPr marL="0" indent="0">
              <a:buFontTx/>
              <a:buNone/>
              <a:defRPr sz="2400" b="1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AT" dirty="0"/>
              <a:t>Mastertextformat bearbeiten</a:t>
            </a:r>
          </a:p>
        </p:txBody>
      </p:sp>
      <p:pic>
        <p:nvPicPr>
          <p:cNvPr id="10" name="Bild 4" descr="pfeil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0755"/>
          <a:stretch/>
        </p:blipFill>
        <p:spPr>
          <a:xfrm>
            <a:off x="-1" y="2277047"/>
            <a:ext cx="1833283" cy="2313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063792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Überblicksillust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6"/>
          <p:cNvSpPr>
            <a:spLocks noGrp="1"/>
          </p:cNvSpPr>
          <p:nvPr>
            <p:ph type="body" sz="quarter" idx="14" hasCustomPrompt="1"/>
          </p:nvPr>
        </p:nvSpPr>
        <p:spPr>
          <a:xfrm>
            <a:off x="806468" y="549635"/>
            <a:ext cx="5287433" cy="314156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100" b="1" u="none" baseline="0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 err="1"/>
              <a:t>aws</a:t>
            </a:r>
            <a:r>
              <a:rPr lang="de-DE" dirty="0"/>
              <a:t> Produkttitel</a:t>
            </a:r>
          </a:p>
        </p:txBody>
      </p:sp>
      <p:sp>
        <p:nvSpPr>
          <p:cNvPr id="14" name="Bildplatzhalter 8"/>
          <p:cNvSpPr>
            <a:spLocks noGrp="1"/>
          </p:cNvSpPr>
          <p:nvPr>
            <p:ph type="pic" sz="quarter" idx="10" hasCustomPrompt="1"/>
          </p:nvPr>
        </p:nvSpPr>
        <p:spPr>
          <a:xfrm>
            <a:off x="4485964" y="2983763"/>
            <a:ext cx="900000" cy="900000"/>
          </a:xfrm>
          <a:prstGeom prst="rect">
            <a:avLst/>
          </a:prstGeom>
          <a:solidFill>
            <a:schemeClr val="bg1"/>
          </a:solidFill>
        </p:spPr>
        <p:txBody>
          <a:bodyPr vert="horz"/>
          <a:lstStyle>
            <a:lvl1pPr marL="0" indent="0">
              <a:buFontTx/>
              <a:buNone/>
              <a:defRPr sz="1000">
                <a:latin typeface="Arial"/>
                <a:cs typeface="Arial"/>
              </a:defRPr>
            </a:lvl1pPr>
          </a:lstStyle>
          <a:p>
            <a:r>
              <a:rPr lang="de-DE" dirty="0"/>
              <a:t>Image</a:t>
            </a:r>
          </a:p>
        </p:txBody>
      </p:sp>
      <p:sp>
        <p:nvSpPr>
          <p:cNvPr id="15" name="Bildplatzhalter 8"/>
          <p:cNvSpPr>
            <a:spLocks noGrp="1"/>
          </p:cNvSpPr>
          <p:nvPr>
            <p:ph type="pic" sz="quarter" idx="11" hasCustomPrompt="1"/>
          </p:nvPr>
        </p:nvSpPr>
        <p:spPr>
          <a:xfrm>
            <a:off x="6809654" y="2991823"/>
            <a:ext cx="900000" cy="900000"/>
          </a:xfrm>
          <a:prstGeom prst="rect">
            <a:avLst/>
          </a:prstGeom>
          <a:solidFill>
            <a:schemeClr val="bg1"/>
          </a:solidFill>
        </p:spPr>
        <p:txBody>
          <a:bodyPr vert="horz"/>
          <a:lstStyle>
            <a:lvl1pPr marL="0" indent="0">
              <a:buFontTx/>
              <a:buNone/>
              <a:defRPr sz="1000">
                <a:latin typeface="Arial"/>
                <a:cs typeface="Arial"/>
              </a:defRPr>
            </a:lvl1pPr>
          </a:lstStyle>
          <a:p>
            <a:r>
              <a:rPr lang="de-DE" dirty="0"/>
              <a:t>Image</a:t>
            </a:r>
          </a:p>
        </p:txBody>
      </p:sp>
      <p:sp>
        <p:nvSpPr>
          <p:cNvPr id="16" name="Textplatzhalter 11"/>
          <p:cNvSpPr>
            <a:spLocks noGrp="1"/>
          </p:cNvSpPr>
          <p:nvPr>
            <p:ph type="body" sz="quarter" idx="12" hasCustomPrompt="1"/>
          </p:nvPr>
        </p:nvSpPr>
        <p:spPr>
          <a:xfrm>
            <a:off x="7831236" y="3318437"/>
            <a:ext cx="2176206" cy="238125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>
              <a:buFontTx/>
              <a:buNone/>
              <a:defRPr sz="1400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AT" dirty="0"/>
              <a:t>Textfeld</a:t>
            </a:r>
          </a:p>
        </p:txBody>
      </p:sp>
      <p:sp>
        <p:nvSpPr>
          <p:cNvPr id="17" name="Textplatzhalt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185597" y="3318437"/>
            <a:ext cx="2176206" cy="238125"/>
          </a:xfrm>
          <a:prstGeom prst="rect">
            <a:avLst/>
          </a:prstGeom>
        </p:spPr>
        <p:txBody>
          <a:bodyPr vert="horz" lIns="0" tIns="0" rIns="0" bIns="0" anchor="ctr"/>
          <a:lstStyle>
            <a:lvl1pPr marL="0" indent="0" algn="r">
              <a:buFontTx/>
              <a:buNone/>
              <a:defRPr sz="1400">
                <a:solidFill>
                  <a:srgbClr val="00377A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AT" dirty="0"/>
              <a:t>Textfeld</a:t>
            </a:r>
          </a:p>
        </p:txBody>
      </p:sp>
      <p:pic>
        <p:nvPicPr>
          <p:cNvPr id="18" name="Bild 3" descr="kreis_doppelt.png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46074" y="2188475"/>
            <a:ext cx="2520000" cy="2520000"/>
          </a:xfrm>
          <a:prstGeom prst="rect">
            <a:avLst/>
          </a:prstGeom>
        </p:spPr>
      </p:pic>
      <p:pic>
        <p:nvPicPr>
          <p:cNvPr id="19" name="Bild 2" descr="aws_gross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57880" y="2901957"/>
            <a:ext cx="1080000" cy="10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664540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000"/>
                            </p:stCondLst>
                            <p:childTnLst>
                              <p:par>
                                <p:cTn id="1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7" dur="1000"/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0" dur="1000"/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5" grpId="0" animBg="1"/>
      <p:bldP spid="16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3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6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6" grpId="1" build="p">
        <p:tmplLst>
          <p:tmpl lvl="1">
            <p:tnLst>
              <p:par>
                <p:cTn presetID="10" presetClass="exit" presetSubtype="0" fill="hold" nodeType="clickEffect">
                  <p:stCondLst>
                    <p:cond delay="0"/>
                  </p:stCondLst>
                  <p:childTnLst>
                    <p:animEffect transition="out" filter="fade">
                      <p:cBhvr>
                        <p:cTn dur="1000"/>
                        <p:tgtEl>
                          <p:spTgt spid="16"/>
                        </p:tgtEl>
                      </p:cBhvr>
                    </p:animEffect>
                    <p:set>
                      <p:cBhvr>
                        <p:cTn dur="1" fill="hold">
                          <p:stCondLst>
                            <p:cond delay="999"/>
                          </p:stCondLst>
                        </p:cTn>
                        <p:tgtEl>
                          <p:spTgt spid="16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hidden"/>
                      </p:to>
                    </p:set>
                  </p:childTnLst>
                </p:cTn>
              </p:par>
            </p:tnLst>
          </p:tmpl>
        </p:tmplLst>
      </p:bldP>
      <p:bldP spid="17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7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7" grpId="1" build="p">
        <p:tmplLst>
          <p:tmpl lvl="1">
            <p:tnLst>
              <p:par>
                <p:cTn presetID="10" presetClass="exit" presetSubtype="0" fill="hold" nodeType="withEffect">
                  <p:stCondLst>
                    <p:cond delay="0"/>
                  </p:stCondLst>
                  <p:childTnLst>
                    <p:animEffect transition="out" filter="fade">
                      <p:cBhvr>
                        <p:cTn dur="1000"/>
                        <p:tgtEl>
                          <p:spTgt spid="17"/>
                        </p:tgtEl>
                      </p:cBhvr>
                    </p:animEffect>
                    <p:set>
                      <p:cBhvr>
                        <p:cTn dur="1" fill="hold">
                          <p:stCondLst>
                            <p:cond delay="999"/>
                          </p:stCondLst>
                        </p:cTn>
                        <p:tgtEl>
                          <p:spTgt spid="17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hidden"/>
                      </p:to>
                    </p:set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>
        <p15:guide id="1" orient="horz" pos="436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/>
          <p:cNvSpPr/>
          <p:nvPr userDrawn="1"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rgbClr val="02266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1" dirty="0"/>
          </a:p>
        </p:txBody>
      </p:sp>
      <p:sp>
        <p:nvSpPr>
          <p:cNvPr id="9" name="Textplatzhalt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06451" y="4076245"/>
            <a:ext cx="3840000" cy="2024249"/>
          </a:xfrm>
          <a:prstGeom prst="rect">
            <a:avLst/>
          </a:prstGeom>
        </p:spPr>
        <p:txBody>
          <a:bodyPr vert="horz" lIns="0" tIns="0" rIns="0" bIns="0" numCol="1" anchor="t" anchorCtr="0"/>
          <a:lstStyle>
            <a:lvl1pPr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AT" dirty="0"/>
              <a:t>Austria Wirtschaftsservice Gesellschaft mbH</a:t>
            </a:r>
          </a:p>
          <a:p>
            <a:pPr lvl="0"/>
            <a:r>
              <a:rPr lang="de-AT" dirty="0" err="1"/>
              <a:t>Walcherstraße</a:t>
            </a:r>
            <a:r>
              <a:rPr lang="de-AT" dirty="0"/>
              <a:t> 11A, 1120 Wien</a:t>
            </a:r>
          </a:p>
          <a:p>
            <a:pPr lvl="0"/>
            <a:endParaRPr lang="de-AT" dirty="0"/>
          </a:p>
          <a:p>
            <a:pPr lvl="0"/>
            <a:r>
              <a:rPr lang="de-AT" dirty="0"/>
              <a:t>T +43 1 50175 –0</a:t>
            </a:r>
          </a:p>
          <a:p>
            <a:pPr lvl="0"/>
            <a:r>
              <a:rPr lang="de-AT" dirty="0"/>
              <a:t>E gruenden@aws.at   </a:t>
            </a:r>
          </a:p>
          <a:p>
            <a:pPr lvl="0"/>
            <a:endParaRPr lang="de-AT" dirty="0"/>
          </a:p>
          <a:p>
            <a:pPr lvl="0"/>
            <a:r>
              <a:rPr lang="de-AT" dirty="0"/>
              <a:t>www.aws.at</a:t>
            </a:r>
          </a:p>
        </p:txBody>
      </p:sp>
      <p:sp>
        <p:nvSpPr>
          <p:cNvPr id="11" name="Textplatzhalter 4"/>
          <p:cNvSpPr>
            <a:spLocks noGrp="1"/>
          </p:cNvSpPr>
          <p:nvPr>
            <p:ph type="body" sz="quarter" idx="11" hasCustomPrompt="1"/>
          </p:nvPr>
        </p:nvSpPr>
        <p:spPr>
          <a:xfrm>
            <a:off x="5129583" y="4073530"/>
            <a:ext cx="2880000" cy="2009495"/>
          </a:xfrm>
          <a:prstGeom prst="rect">
            <a:avLst/>
          </a:prstGeom>
        </p:spPr>
        <p:txBody>
          <a:bodyPr vert="horz" lIns="0" tIns="0" rIns="0" bIns="0" numCol="1" anchor="t" anchorCtr="0"/>
          <a:lstStyle>
            <a:lvl1pPr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AT" dirty="0"/>
              <a:t>Max Mustermann</a:t>
            </a:r>
          </a:p>
          <a:p>
            <a:pPr lvl="0"/>
            <a:r>
              <a:rPr lang="de-AT" dirty="0"/>
              <a:t>Funktion in der </a:t>
            </a:r>
            <a:r>
              <a:rPr lang="de-AT" dirty="0" err="1"/>
              <a:t>aws</a:t>
            </a:r>
            <a:endParaRPr lang="de-AT" dirty="0"/>
          </a:p>
          <a:p>
            <a:pPr lvl="0"/>
            <a:endParaRPr lang="de-AT" dirty="0"/>
          </a:p>
          <a:p>
            <a:pPr lvl="0"/>
            <a:r>
              <a:rPr lang="de-AT" dirty="0"/>
              <a:t>T +43 1 50175 –0</a:t>
            </a:r>
          </a:p>
          <a:p>
            <a:pPr lvl="0"/>
            <a:r>
              <a:rPr lang="de-AT" dirty="0"/>
              <a:t>E max.mustermann@aws.at   </a:t>
            </a:r>
          </a:p>
          <a:p>
            <a:pPr lvl="0"/>
            <a:endParaRPr lang="de-AT" dirty="0"/>
          </a:p>
        </p:txBody>
      </p:sp>
      <p:sp>
        <p:nvSpPr>
          <p:cNvPr id="12" name="Textplatzhalter 4"/>
          <p:cNvSpPr>
            <a:spLocks noGrp="1"/>
          </p:cNvSpPr>
          <p:nvPr>
            <p:ph type="body" sz="quarter" idx="12" hasCustomPrompt="1"/>
          </p:nvPr>
        </p:nvSpPr>
        <p:spPr>
          <a:xfrm>
            <a:off x="8478033" y="4073530"/>
            <a:ext cx="2880000" cy="2009495"/>
          </a:xfrm>
          <a:prstGeom prst="rect">
            <a:avLst/>
          </a:prstGeom>
        </p:spPr>
        <p:txBody>
          <a:bodyPr vert="horz" lIns="0" tIns="0" rIns="0" bIns="0" numCol="1" anchor="t" anchorCtr="0"/>
          <a:lstStyle>
            <a:lvl1pPr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de-AT" dirty="0"/>
              <a:t>Max Mustermann</a:t>
            </a:r>
          </a:p>
          <a:p>
            <a:pPr lvl="0"/>
            <a:r>
              <a:rPr lang="de-AT" dirty="0"/>
              <a:t>Funktion in der </a:t>
            </a:r>
            <a:r>
              <a:rPr lang="de-AT" dirty="0" err="1"/>
              <a:t>aws</a:t>
            </a:r>
            <a:endParaRPr lang="de-AT" dirty="0"/>
          </a:p>
          <a:p>
            <a:pPr lvl="0"/>
            <a:endParaRPr lang="de-AT" dirty="0"/>
          </a:p>
          <a:p>
            <a:pPr lvl="0"/>
            <a:r>
              <a:rPr lang="de-AT" dirty="0"/>
              <a:t>T +43 1 50175 –0</a:t>
            </a:r>
          </a:p>
          <a:p>
            <a:pPr lvl="0"/>
            <a:r>
              <a:rPr lang="de-AT" dirty="0"/>
              <a:t>E max.mustermann@aws.at   </a:t>
            </a:r>
          </a:p>
          <a:p>
            <a:pPr lvl="0"/>
            <a:endParaRPr lang="de-AT" dirty="0"/>
          </a:p>
        </p:txBody>
      </p:sp>
      <p:sp>
        <p:nvSpPr>
          <p:cNvPr id="13" name="Oval 6"/>
          <p:cNvSpPr>
            <a:spLocks/>
          </p:cNvSpPr>
          <p:nvPr userDrawn="1"/>
        </p:nvSpPr>
        <p:spPr>
          <a:xfrm>
            <a:off x="8239063" y="-162882"/>
            <a:ext cx="3240000" cy="324000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1"/>
          </a:p>
        </p:txBody>
      </p:sp>
      <p:pic>
        <p:nvPicPr>
          <p:cNvPr id="14" name="Bild 7" descr="aws_b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60413" y="1138889"/>
            <a:ext cx="2160000" cy="6343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2494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</p:bldLst>
  </p:timing>
  <p:extLst>
    <p:ext uri="{DCECCB84-F9BA-43D5-87BE-67443E8EF086}">
      <p15:sldGuideLst xmlns:p15="http://schemas.microsoft.com/office/powerpoint/2012/main">
        <p15:guide id="1" orient="horz" pos="1117" userDrawn="1">
          <p15:clr>
            <a:srgbClr val="FBAE40"/>
          </p15:clr>
        </p15:guide>
        <p15:guide id="2" pos="6879" userDrawn="1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8AD85A2-1438-4344-BEFA-61F147F5DED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AA47AE64-DB9A-4690-A1C3-E7AAB1DA7B5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50185061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550A381-E24F-4BA8-BD96-71C8D110869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A3A03693-CCAB-42B0-B691-10312ED7AE8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414566931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8"/>
          <p:cNvSpPr>
            <a:spLocks noGrp="1"/>
          </p:cNvSpPr>
          <p:nvPr>
            <p:ph type="body" sz="quarter" idx="10" hasCustomPrompt="1"/>
          </p:nvPr>
        </p:nvSpPr>
        <p:spPr>
          <a:xfrm>
            <a:off x="817053" y="1444643"/>
            <a:ext cx="10562167" cy="1480369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4400" b="1" baseline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AT" dirty="0"/>
              <a:t>Arial </a:t>
            </a:r>
            <a:r>
              <a:rPr lang="de-AT" dirty="0" err="1"/>
              <a:t>Bold</a:t>
            </a:r>
            <a:r>
              <a:rPr lang="de-AT" dirty="0"/>
              <a:t> 44 </a:t>
            </a:r>
            <a:r>
              <a:rPr lang="de-AT" dirty="0" err="1"/>
              <a:t>white</a:t>
            </a:r>
            <a:endParaRPr lang="de-AT" dirty="0"/>
          </a:p>
          <a:p>
            <a:pPr lvl="0"/>
            <a:r>
              <a:rPr lang="de-AT" dirty="0"/>
              <a:t>2. Headline Arial 44 Hellblau!</a:t>
            </a:r>
          </a:p>
        </p:txBody>
      </p:sp>
    </p:spTree>
    <p:extLst>
      <p:ext uri="{BB962C8B-B14F-4D97-AF65-F5344CB8AC3E}">
        <p14:creationId xmlns:p14="http://schemas.microsoft.com/office/powerpoint/2010/main" val="16989388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1000"/>
                            </p:stCondLst>
                            <p:childTnLst>
                              <p:par>
                                <p:cTn id="10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1000" fill="hold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>
        <p:tmplLst>
          <p:tmpl lvl="1">
            <p:tnLst>
              <p:par>
                <p:cTn presetID="2" presetClass="entr" presetSubtype="8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 Produkt m.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817035" y="1444625"/>
            <a:ext cx="10541000" cy="1131888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2800" b="1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de-DE" sz="2400" u="sng" dirty="0" err="1"/>
              <a:t>aws</a:t>
            </a:r>
            <a:r>
              <a:rPr lang="de-DE" sz="2400" dirty="0"/>
              <a:t> </a:t>
            </a:r>
            <a:r>
              <a:rPr lang="de-DE" sz="2400" u="sng" dirty="0">
                <a:solidFill>
                  <a:srgbClr val="D39919"/>
                </a:solidFill>
              </a:rPr>
              <a:t>Gründen &amp; junge Unternehmen</a:t>
            </a:r>
          </a:p>
          <a:p>
            <a:r>
              <a:rPr lang="de-DE" sz="2400" b="0" dirty="0"/>
              <a:t>Innovation konsequent fördern!</a:t>
            </a:r>
          </a:p>
          <a:p>
            <a:pPr lvl="0"/>
            <a:endParaRPr lang="de-AT" dirty="0"/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1" hasCustomPrompt="1"/>
          </p:nvPr>
        </p:nvSpPr>
        <p:spPr>
          <a:xfrm>
            <a:off x="817054" y="2343684"/>
            <a:ext cx="10540999" cy="3914775"/>
          </a:xfrm>
          <a:prstGeom prst="rect">
            <a:avLst/>
          </a:prstGeom>
        </p:spPr>
        <p:txBody>
          <a:bodyPr vert="horz"/>
          <a:lstStyle>
            <a:lvl1pPr marL="0" indent="0">
              <a:buFontTx/>
              <a:buNone/>
              <a:defRPr sz="1401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de-DE" dirty="0"/>
              <a:t>Image Produkt einfügen</a:t>
            </a: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806470" y="523507"/>
            <a:ext cx="4504137" cy="314156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1100" b="1" u="sng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DE" dirty="0" err="1"/>
              <a:t>aws</a:t>
            </a:r>
            <a:r>
              <a:rPr lang="de-DE" dirty="0"/>
              <a:t> Produkttitel</a:t>
            </a:r>
          </a:p>
        </p:txBody>
      </p:sp>
    </p:spTree>
    <p:extLst>
      <p:ext uri="{BB962C8B-B14F-4D97-AF65-F5344CB8AC3E}">
        <p14:creationId xmlns:p14="http://schemas.microsoft.com/office/powerpoint/2010/main" val="166757845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 Förderb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8"/>
          <p:cNvSpPr>
            <a:spLocks noGrp="1"/>
          </p:cNvSpPr>
          <p:nvPr>
            <p:ph type="body" sz="quarter" idx="10" hasCustomPrompt="1"/>
          </p:nvPr>
        </p:nvSpPr>
        <p:spPr>
          <a:xfrm>
            <a:off x="817053" y="1447301"/>
            <a:ext cx="10562167" cy="1480369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4400" b="1" baseline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AT" dirty="0"/>
              <a:t>Arial </a:t>
            </a:r>
            <a:r>
              <a:rPr lang="de-AT" dirty="0" err="1"/>
              <a:t>Bold</a:t>
            </a:r>
            <a:r>
              <a:rPr lang="de-AT" dirty="0"/>
              <a:t> 44 </a:t>
            </a:r>
            <a:r>
              <a:rPr lang="de-AT" dirty="0" err="1"/>
              <a:t>white</a:t>
            </a:r>
            <a:endParaRPr lang="de-AT" dirty="0"/>
          </a:p>
          <a:p>
            <a:pPr lvl="0"/>
            <a:r>
              <a:rPr lang="de-AT" dirty="0"/>
              <a:t>2. Headline Regular Blue!</a:t>
            </a:r>
          </a:p>
        </p:txBody>
      </p:sp>
      <p:pic>
        <p:nvPicPr>
          <p:cNvPr id="4" name="Bild 7" descr="pfeile.pn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6838" b="31400"/>
          <a:stretch/>
        </p:blipFill>
        <p:spPr>
          <a:xfrm>
            <a:off x="0" y="1321915"/>
            <a:ext cx="9067089" cy="64846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30362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4" dur="21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20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uiExpand="1" build="p">
        <p:tmplLst>
          <p:tmpl lvl="1">
            <p:tnLst>
              <p:par>
                <p:cTn presetID="2" presetClass="entr" presetSubtype="8" fill="hold" nodeType="withEffect">
                  <p:stCondLst>
                    <p:cond delay="100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9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 calcmode="lin" valueType="num">
                      <p:cBhvr additive="base">
                        <p:cTn dur="1000" fill="hold"/>
                        <p:tgtEl>
                          <p:spTgt spid="9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0-#ppt_w/2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 additive="base">
                        <p:cTn dur="1000" fill="hold"/>
                        <p:tgtEl>
                          <p:spTgt spid="9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 3" descr="Logo_blau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24359" y="368300"/>
            <a:ext cx="2344880" cy="539496"/>
          </a:xfrm>
          <a:prstGeom prst="rect">
            <a:avLst/>
          </a:prstGeom>
        </p:spPr>
      </p:pic>
      <p:sp>
        <p:nvSpPr>
          <p:cNvPr id="3" name="Textplatzhalter 8"/>
          <p:cNvSpPr>
            <a:spLocks noGrp="1"/>
          </p:cNvSpPr>
          <p:nvPr>
            <p:ph type="body" sz="quarter" idx="10" hasCustomPrompt="1"/>
          </p:nvPr>
        </p:nvSpPr>
        <p:spPr>
          <a:xfrm>
            <a:off x="817053" y="1444643"/>
            <a:ext cx="10562167" cy="1480369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buFontTx/>
              <a:buNone/>
              <a:defRPr sz="4400" b="0" i="0" baseline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de-AT" dirty="0"/>
              <a:t>Arial Fett 44 dunkelblau</a:t>
            </a:r>
          </a:p>
          <a:p>
            <a:pPr lvl="0"/>
            <a:r>
              <a:rPr lang="de-AT" dirty="0"/>
              <a:t>2. Headline Arial 44 weiß</a:t>
            </a:r>
          </a:p>
        </p:txBody>
      </p:sp>
    </p:spTree>
    <p:extLst>
      <p:ext uri="{BB962C8B-B14F-4D97-AF65-F5344CB8AC3E}">
        <p14:creationId xmlns:p14="http://schemas.microsoft.com/office/powerpoint/2010/main" val="35797446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 3" descr="Logo_blau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24359" y="368300"/>
            <a:ext cx="2344880" cy="5394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40927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0.vml"/><Relationship Id="rId7" Type="http://schemas.openxmlformats.org/officeDocument/2006/relationships/image" Target="../media/image6.png"/><Relationship Id="rId2" Type="http://schemas.openxmlformats.org/officeDocument/2006/relationships/theme" Target="../theme/theme10.xml"/><Relationship Id="rId1" Type="http://schemas.openxmlformats.org/officeDocument/2006/relationships/slideLayout" Target="../slideLayouts/slideLayout40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tags" Target="../tags/tag11.xml"/></Relationships>
</file>

<file path=ppt/slideMasters/_rels/slideMaster1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1.vml"/><Relationship Id="rId7" Type="http://schemas.openxmlformats.org/officeDocument/2006/relationships/image" Target="../media/image10.png"/><Relationship Id="rId2" Type="http://schemas.openxmlformats.org/officeDocument/2006/relationships/theme" Target="../theme/theme11.xml"/><Relationship Id="rId1" Type="http://schemas.openxmlformats.org/officeDocument/2006/relationships/slideLayout" Target="../slideLayouts/slideLayout4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tags" Target="../tags/tag1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7.xml"/><Relationship Id="rId7" Type="http://schemas.openxmlformats.org/officeDocument/2006/relationships/oleObject" Target="../embeddings/oleObject2.bin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tags" Target="../tags/tag3.xml"/><Relationship Id="rId5" Type="http://schemas.openxmlformats.org/officeDocument/2006/relationships/vmlDrawing" Target="../drawings/vmlDrawing2.vml"/><Relationship Id="rId4" Type="http://schemas.openxmlformats.org/officeDocument/2006/relationships/theme" Target="../theme/theme2.xml"/><Relationship Id="rId9" Type="http://schemas.openxmlformats.org/officeDocument/2006/relationships/image" Target="../media/image2.png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oleObject" Target="../embeddings/oleObject3.bin"/><Relationship Id="rId5" Type="http://schemas.openxmlformats.org/officeDocument/2006/relationships/tags" Target="../tags/tag4.xml"/><Relationship Id="rId4" Type="http://schemas.openxmlformats.org/officeDocument/2006/relationships/vmlDrawing" Target="../drawings/vmlDrawing3.v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heme" Target="../theme/theme4.xml"/><Relationship Id="rId13" Type="http://schemas.openxmlformats.org/officeDocument/2006/relationships/image" Target="../media/image6.png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oleObject" Target="../embeddings/oleObject4.bin"/><Relationship Id="rId5" Type="http://schemas.openxmlformats.org/officeDocument/2006/relationships/slideLayout" Target="../slideLayouts/slideLayout14.xml"/><Relationship Id="rId10" Type="http://schemas.openxmlformats.org/officeDocument/2006/relationships/tags" Target="../tags/tag5.xml"/><Relationship Id="rId4" Type="http://schemas.openxmlformats.org/officeDocument/2006/relationships/slideLayout" Target="../slideLayouts/slideLayout13.xml"/><Relationship Id="rId9" Type="http://schemas.openxmlformats.org/officeDocument/2006/relationships/vmlDrawing" Target="../drawings/vmlDrawing4.v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heme" Target="../theme/theme5.xml"/><Relationship Id="rId13" Type="http://schemas.openxmlformats.org/officeDocument/2006/relationships/image" Target="../media/image6.png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oleObject" Target="../embeddings/oleObject5.bin"/><Relationship Id="rId5" Type="http://schemas.openxmlformats.org/officeDocument/2006/relationships/slideLayout" Target="../slideLayouts/slideLayout21.xml"/><Relationship Id="rId10" Type="http://schemas.openxmlformats.org/officeDocument/2006/relationships/tags" Target="../tags/tag6.xml"/><Relationship Id="rId4" Type="http://schemas.openxmlformats.org/officeDocument/2006/relationships/slideLayout" Target="../slideLayouts/slideLayout20.xml"/><Relationship Id="rId9" Type="http://schemas.openxmlformats.org/officeDocument/2006/relationships/vmlDrawing" Target="../drawings/vmlDrawing5.v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6.vml"/><Relationship Id="rId3" Type="http://schemas.openxmlformats.org/officeDocument/2006/relationships/slideLayout" Target="../slideLayouts/slideLayout26.xml"/><Relationship Id="rId7" Type="http://schemas.openxmlformats.org/officeDocument/2006/relationships/theme" Target="../theme/theme6.xml"/><Relationship Id="rId12" Type="http://schemas.openxmlformats.org/officeDocument/2006/relationships/image" Target="../media/image6.png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28.xml"/><Relationship Id="rId10" Type="http://schemas.openxmlformats.org/officeDocument/2006/relationships/oleObject" Target="../embeddings/oleObject6.bin"/><Relationship Id="rId4" Type="http://schemas.openxmlformats.org/officeDocument/2006/relationships/slideLayout" Target="../slideLayouts/slideLayout27.xml"/><Relationship Id="rId9" Type="http://schemas.openxmlformats.org/officeDocument/2006/relationships/tags" Target="../tags/tag7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3" Type="http://schemas.openxmlformats.org/officeDocument/2006/relationships/slideLayout" Target="../slideLayouts/slideLayout32.xml"/><Relationship Id="rId7" Type="http://schemas.openxmlformats.org/officeDocument/2006/relationships/vmlDrawing" Target="../drawings/vmlDrawing7.vml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Relationship Id="rId6" Type="http://schemas.openxmlformats.org/officeDocument/2006/relationships/theme" Target="../theme/theme7.xml"/><Relationship Id="rId11" Type="http://schemas.openxmlformats.org/officeDocument/2006/relationships/image" Target="../media/image6.png"/><Relationship Id="rId5" Type="http://schemas.openxmlformats.org/officeDocument/2006/relationships/slideLayout" Target="../slideLayouts/slideLayout34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33.xml"/><Relationship Id="rId9" Type="http://schemas.openxmlformats.org/officeDocument/2006/relationships/oleObject" Target="../embeddings/oleObject7.bin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8.bin"/><Relationship Id="rId3" Type="http://schemas.openxmlformats.org/officeDocument/2006/relationships/slideLayout" Target="../slideLayouts/slideLayout37.xml"/><Relationship Id="rId7" Type="http://schemas.openxmlformats.org/officeDocument/2006/relationships/tags" Target="../tags/tag9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vmlDrawing" Target="../drawings/vmlDrawing8.vml"/><Relationship Id="rId5" Type="http://schemas.openxmlformats.org/officeDocument/2006/relationships/theme" Target="../theme/theme8.xml"/><Relationship Id="rId10" Type="http://schemas.openxmlformats.org/officeDocument/2006/relationships/image" Target="../media/image6.png"/><Relationship Id="rId4" Type="http://schemas.openxmlformats.org/officeDocument/2006/relationships/slideLayout" Target="../slideLayouts/slideLayout38.xml"/><Relationship Id="rId9" Type="http://schemas.openxmlformats.org/officeDocument/2006/relationships/image" Target="../media/image1.emf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9.vml"/><Relationship Id="rId7" Type="http://schemas.openxmlformats.org/officeDocument/2006/relationships/image" Target="../media/image6.png"/><Relationship Id="rId2" Type="http://schemas.openxmlformats.org/officeDocument/2006/relationships/theme" Target="../theme/theme9.xml"/><Relationship Id="rId1" Type="http://schemas.openxmlformats.org/officeDocument/2006/relationships/slideLayout" Target="../slideLayouts/slideLayout39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tags" Target="../tags/tag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B8E3C07F-2ACD-4AF8-BE0E-2B35FBD307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9307205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Folie" r:id="rId8" imgW="344" imgH="345" progId="TCLayout.ActiveDocument.1">
                  <p:embed/>
                </p:oleObj>
              </mc:Choice>
              <mc:Fallback>
                <p:oleObj name="think-cell Folie" r:id="rId8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/>
          <p:cNvSpPr/>
          <p:nvPr userDrawn="1"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rgbClr val="02266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1" dirty="0"/>
          </a:p>
        </p:txBody>
      </p:sp>
      <p:sp>
        <p:nvSpPr>
          <p:cNvPr id="6" name="Textplatzhalter 35"/>
          <p:cNvSpPr txBox="1">
            <a:spLocks/>
          </p:cNvSpPr>
          <p:nvPr userDrawn="1"/>
        </p:nvSpPr>
        <p:spPr>
          <a:xfrm>
            <a:off x="817053" y="6491302"/>
            <a:ext cx="10562167" cy="224771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r" defTabSz="457200" rtl="0" eaLnBrk="1" latinLnBrk="0" hangingPunct="1">
              <a:spcBef>
                <a:spcPct val="20000"/>
              </a:spcBef>
              <a:buFont typeface="Arial"/>
              <a:buNone/>
              <a:defRPr sz="1000" kern="1200" baseline="0">
                <a:solidFill>
                  <a:srgbClr val="04174C"/>
                </a:solidFill>
                <a:latin typeface="Arial"/>
                <a:ea typeface="+mn-ea"/>
                <a:cs typeface="Arial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l" defTabSz="45715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de-AT" sz="900" dirty="0">
                <a:solidFill>
                  <a:schemeClr val="bg1"/>
                </a:solidFill>
              </a:rPr>
              <a:t>Kommunikationslinie Kreativwirtschaft NEU | Seite </a:t>
            </a:r>
            <a:fld id="{58321080-53F8-5341-9F63-369F9D6D606E}" type="slidenum">
              <a:rPr lang="de-DE" sz="900" smtClean="0">
                <a:solidFill>
                  <a:schemeClr val="bg1"/>
                </a:solidFill>
              </a:rPr>
              <a:pPr marL="0" marR="0" indent="0" algn="l" defTabSz="457154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t>‹Nr.›</a:t>
            </a:fld>
            <a:endParaRPr lang="de-DE" sz="900" dirty="0">
              <a:solidFill>
                <a:schemeClr val="bg1"/>
              </a:solidFill>
            </a:endParaRPr>
          </a:p>
        </p:txBody>
      </p:sp>
      <p:pic>
        <p:nvPicPr>
          <p:cNvPr id="5" name="Bild 4" descr="Logo_weiss.png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24359" y="367449"/>
            <a:ext cx="2344879" cy="5394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64004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708" r:id="rId3"/>
    <p:sldLayoutId id="2147483664" r:id="rId4"/>
  </p:sldLayoutIdLst>
  <p:hf hdr="0" ftr="0" dt="0"/>
  <p:txStyles>
    <p:titleStyle>
      <a:lvl1pPr algn="l" defTabSz="457154" rtl="0" eaLnBrk="1" latinLnBrk="0" hangingPunct="1">
        <a:spcBef>
          <a:spcPct val="0"/>
        </a:spcBef>
        <a:buNone/>
        <a:defRPr sz="1001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0" indent="0" algn="l" defTabSz="457154" rtl="0" eaLnBrk="1" latinLnBrk="0" hangingPunct="1">
        <a:spcBef>
          <a:spcPct val="20000"/>
        </a:spcBef>
        <a:buFont typeface="Arial"/>
        <a:buNone/>
        <a:defRPr sz="1001" kern="1200" baseline="0">
          <a:solidFill>
            <a:srgbClr val="04174C"/>
          </a:solidFill>
          <a:latin typeface="Arial"/>
          <a:ea typeface="+mn-ea"/>
          <a:cs typeface="Arial"/>
        </a:defRPr>
      </a:lvl1pPr>
      <a:lvl2pPr marL="742876" indent="-285722" algn="l" defTabSz="457154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887" indent="-228578" algn="l" defTabSz="457154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41" indent="-228578" algn="l" defTabSz="457154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195" indent="-228578" algn="l" defTabSz="457154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350" indent="-228578" algn="l" defTabSz="45715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03" indent="-228578" algn="l" defTabSz="45715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58" indent="-228578" algn="l" defTabSz="45715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15" indent="-228578" algn="l" defTabSz="45715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2pPr>
      <a:lvl3pPr marL="914310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4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8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2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7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4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3A3C63B2-9519-4443-8A1A-C084370F192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662062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3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Bild 3" descr="Logo_blau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24359" y="368300"/>
            <a:ext cx="2344880" cy="5394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43715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8" r:id="rId1"/>
  </p:sldLayoutIdLst>
  <p:hf hdr="0" ftr="0" dt="0"/>
  <p:txStyles>
    <p:titleStyle>
      <a:lvl1pPr algn="ctr" defTabSz="457154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866" indent="-342866" algn="l" defTabSz="457154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876" indent="-285722" algn="l" defTabSz="457154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887" indent="-228578" algn="l" defTabSz="457154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41" indent="-228578" algn="l" defTabSz="457154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195" indent="-228578" algn="l" defTabSz="457154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350" indent="-228578" algn="l" defTabSz="45715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03" indent="-228578" algn="l" defTabSz="45715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58" indent="-228578" algn="l" defTabSz="45715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15" indent="-228578" algn="l" defTabSz="45715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2pPr>
      <a:lvl3pPr marL="914310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4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8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2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7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4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orient="horz" pos="913" userDrawn="1">
          <p15:clr>
            <a:srgbClr val="F26B43"/>
          </p15:clr>
        </p15:guide>
        <p15:guide id="4" orient="horz" pos="3589" userDrawn="1">
          <p15:clr>
            <a:srgbClr val="F26B43"/>
          </p15:clr>
        </p15:guide>
        <p15:guide id="5" pos="7167" userDrawn="1">
          <p15:clr>
            <a:srgbClr val="F26B43"/>
          </p15:clr>
        </p15:guide>
        <p15:guide id="6" pos="513" userDrawn="1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A6B3A0FF-A3C9-48A3-98FC-33E769D2871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7672290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7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platzhalter 35"/>
          <p:cNvSpPr txBox="1">
            <a:spLocks/>
          </p:cNvSpPr>
          <p:nvPr/>
        </p:nvSpPr>
        <p:spPr>
          <a:xfrm>
            <a:off x="817034" y="6491288"/>
            <a:ext cx="10562167" cy="224771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r" defTabSz="457200" rtl="0" eaLnBrk="1" latinLnBrk="0" hangingPunct="1">
              <a:spcBef>
                <a:spcPct val="20000"/>
              </a:spcBef>
              <a:buFont typeface="Arial"/>
              <a:buNone/>
              <a:defRPr sz="1000" kern="1200" baseline="0">
                <a:solidFill>
                  <a:srgbClr val="04174C"/>
                </a:solidFill>
                <a:latin typeface="Arial"/>
                <a:ea typeface="+mn-ea"/>
                <a:cs typeface="Arial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de-AT" sz="900" dirty="0">
                <a:solidFill>
                  <a:srgbClr val="00377A"/>
                </a:solidFill>
              </a:rPr>
              <a:t>Titel des Vortrags | Name des Vortragenden</a:t>
            </a:r>
            <a:r>
              <a:rPr lang="de-AT" sz="900" baseline="0" dirty="0">
                <a:solidFill>
                  <a:srgbClr val="00377A"/>
                </a:solidFill>
              </a:rPr>
              <a:t> </a:t>
            </a:r>
            <a:r>
              <a:rPr lang="de-AT" sz="900" dirty="0">
                <a:solidFill>
                  <a:srgbClr val="00377A"/>
                </a:solidFill>
              </a:rPr>
              <a:t>| Seite </a:t>
            </a:r>
            <a:fld id="{58321080-53F8-5341-9F63-369F9D6D606E}" type="slidenum">
              <a:rPr lang="de-DE" sz="900" smtClean="0">
                <a:solidFill>
                  <a:srgbClr val="00377A"/>
                </a:solidFill>
              </a:rPr>
              <a:pPr marL="0" marR="0" indent="0" algn="l" defTabSz="457200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t>‹Nr.›</a:t>
            </a:fld>
            <a:endParaRPr lang="de-DE" sz="900" dirty="0">
              <a:solidFill>
                <a:srgbClr val="00377A"/>
              </a:solidFill>
            </a:endParaRPr>
          </a:p>
        </p:txBody>
      </p:sp>
      <p:pic>
        <p:nvPicPr>
          <p:cNvPr id="5" name="Bild 4" descr="Logo_blau.png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72471" y="368300"/>
            <a:ext cx="3096768" cy="5394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44648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40F2E526-E9C8-4F87-A35B-FC25C65063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3057887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Folie" r:id="rId7" imgW="344" imgH="345" progId="TCLayout.ActiveDocument.1">
                  <p:embed/>
                </p:oleObj>
              </mc:Choice>
              <mc:Fallback>
                <p:oleObj name="think-cell Folie" r:id="rId7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/>
          <p:cNvSpPr/>
          <p:nvPr userDrawn="1"/>
        </p:nvSpPr>
        <p:spPr>
          <a:xfrm>
            <a:off x="0" y="1"/>
            <a:ext cx="12192000" cy="6858000"/>
          </a:xfrm>
          <a:prstGeom prst="rect">
            <a:avLst/>
          </a:prstGeom>
          <a:solidFill>
            <a:srgbClr val="022666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1" dirty="0">
              <a:solidFill>
                <a:srgbClr val="000090"/>
              </a:solidFill>
            </a:endParaRPr>
          </a:p>
        </p:txBody>
      </p:sp>
      <p:pic>
        <p:nvPicPr>
          <p:cNvPr id="5" name="Bild 4" descr="Logo_weiss.png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24359" y="367449"/>
            <a:ext cx="2344879" cy="5394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63755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713" r:id="rId2"/>
    <p:sldLayoutId id="2147483667" r:id="rId3"/>
  </p:sldLayoutIdLst>
  <p:hf hdr="0" ftr="0" dt="0"/>
  <p:txStyles>
    <p:titleStyle>
      <a:lvl1pPr algn="ctr" defTabSz="457154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866" indent="-342866" algn="l" defTabSz="457154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876" indent="-285722" algn="l" defTabSz="457154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887" indent="-228578" algn="l" defTabSz="457154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41" indent="-228578" algn="l" defTabSz="457154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195" indent="-228578" algn="l" defTabSz="457154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350" indent="-228578" algn="l" defTabSz="45715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03" indent="-228578" algn="l" defTabSz="45715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58" indent="-228578" algn="l" defTabSz="45715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15" indent="-228578" algn="l" defTabSz="45715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2pPr>
      <a:lvl3pPr marL="914310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4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8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2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7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4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099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AC8F5507-2FD4-4E19-B39C-9BA70F13B1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1568264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Folie" r:id="rId6" imgW="344" imgH="345" progId="TCLayout.ActiveDocument.1">
                  <p:embed/>
                </p:oleObj>
              </mc:Choice>
              <mc:Fallback>
                <p:oleObj name="think-cell Folie" r:id="rId6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4067574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</p:sldLayoutIdLst>
  <p:hf hdr="0" ftr="0" dt="0"/>
  <p:txStyles>
    <p:titleStyle>
      <a:lvl1pPr algn="l" defTabSz="91431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78" indent="-228578" algn="l" defTabSz="914310" rtl="0" eaLnBrk="1" latinLnBrk="0" hangingPunct="1">
        <a:lnSpc>
          <a:spcPct val="90000"/>
        </a:lnSpc>
        <a:spcBef>
          <a:spcPts val="1001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35" indent="-228578" algn="l" defTabSz="91431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887" indent="-228578" algn="l" defTabSz="91431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41" indent="-228578" algn="l" defTabSz="91431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2057195" indent="-228578" algn="l" defTabSz="91431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514350" indent="-228578" algn="l" defTabSz="91431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971503" indent="-228578" algn="l" defTabSz="91431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428658" indent="-228578" algn="l" defTabSz="91431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885815" indent="-228578" algn="l" defTabSz="91431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10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10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2pPr>
      <a:lvl3pPr marL="914310" algn="l" defTabSz="914310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4" algn="l" defTabSz="914310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8" algn="l" defTabSz="914310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2" algn="l" defTabSz="914310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7" algn="l" defTabSz="914310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10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4" algn="l" defTabSz="914310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D1F1706F-F539-46A1-A7BB-BC5BB8B9E7E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4195502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Folie" r:id="rId11" imgW="344" imgH="345" progId="TCLayout.ActiveDocument.1">
                  <p:embed/>
                </p:oleObj>
              </mc:Choice>
              <mc:Fallback>
                <p:oleObj name="think-cell Folie" r:id="rId11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Bild 3" descr="Logo_blau.png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24359" y="368300"/>
            <a:ext cx="2344880" cy="5394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53335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698" r:id="rId2"/>
    <p:sldLayoutId id="2147483699" r:id="rId3"/>
    <p:sldLayoutId id="2147483673" r:id="rId4"/>
    <p:sldLayoutId id="2147483701" r:id="rId5"/>
    <p:sldLayoutId id="2147483672" r:id="rId6"/>
    <p:sldLayoutId id="2147483717" r:id="rId7"/>
  </p:sldLayoutIdLst>
  <p:hf hdr="0" ftr="0" dt="0"/>
  <p:txStyles>
    <p:titleStyle>
      <a:lvl1pPr algn="l" defTabSz="91431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78" indent="-228578" algn="l" defTabSz="914310" rtl="0" eaLnBrk="1" latinLnBrk="0" hangingPunct="1">
        <a:lnSpc>
          <a:spcPct val="90000"/>
        </a:lnSpc>
        <a:spcBef>
          <a:spcPts val="1001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35" indent="-228578" algn="l" defTabSz="91431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887" indent="-228578" algn="l" defTabSz="91431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41" indent="-228578" algn="l" defTabSz="91431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2057195" indent="-228578" algn="l" defTabSz="91431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514350" indent="-228578" algn="l" defTabSz="91431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971503" indent="-228578" algn="l" defTabSz="91431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428658" indent="-228578" algn="l" defTabSz="91431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885815" indent="-228578" algn="l" defTabSz="91431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310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914310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2pPr>
      <a:lvl3pPr marL="914310" algn="l" defTabSz="914310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4" algn="l" defTabSz="914310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8" algn="l" defTabSz="914310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2" algn="l" defTabSz="914310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7" algn="l" defTabSz="914310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914310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4" algn="l" defTabSz="914310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1250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2953EC4D-9BD5-4547-B88F-664B973E758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7804844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Folie" r:id="rId11" imgW="344" imgH="345" progId="TCLayout.ActiveDocument.1">
                  <p:embed/>
                </p:oleObj>
              </mc:Choice>
              <mc:Fallback>
                <p:oleObj name="think-cell Folie" r:id="rId11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platzhalter 35"/>
          <p:cNvSpPr txBox="1">
            <a:spLocks/>
          </p:cNvSpPr>
          <p:nvPr userDrawn="1"/>
        </p:nvSpPr>
        <p:spPr>
          <a:xfrm>
            <a:off x="817053" y="6491302"/>
            <a:ext cx="10562167" cy="224771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r" defTabSz="457200" rtl="0" eaLnBrk="1" latinLnBrk="0" hangingPunct="1">
              <a:spcBef>
                <a:spcPct val="20000"/>
              </a:spcBef>
              <a:buFont typeface="Arial"/>
              <a:buNone/>
              <a:defRPr sz="1000" kern="1200" baseline="0">
                <a:solidFill>
                  <a:srgbClr val="04174C"/>
                </a:solidFill>
                <a:latin typeface="Arial"/>
                <a:ea typeface="+mn-ea"/>
                <a:cs typeface="Arial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l" defTabSz="45715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de-AT" sz="900" dirty="0">
                <a:solidFill>
                  <a:srgbClr val="00377A"/>
                </a:solidFill>
              </a:rPr>
              <a:t>Titel des Vortrags | Name des Vortragenden</a:t>
            </a:r>
            <a:r>
              <a:rPr lang="de-AT" sz="900" baseline="0" dirty="0">
                <a:solidFill>
                  <a:srgbClr val="00377A"/>
                </a:solidFill>
              </a:rPr>
              <a:t> </a:t>
            </a:r>
            <a:r>
              <a:rPr lang="de-AT" sz="900" dirty="0">
                <a:solidFill>
                  <a:srgbClr val="00377A"/>
                </a:solidFill>
              </a:rPr>
              <a:t>| Seite </a:t>
            </a:r>
            <a:fld id="{58321080-53F8-5341-9F63-369F9D6D606E}" type="slidenum">
              <a:rPr lang="de-DE" sz="900" smtClean="0">
                <a:solidFill>
                  <a:srgbClr val="00377A"/>
                </a:solidFill>
              </a:rPr>
              <a:pPr marL="0" marR="0" indent="0" algn="l" defTabSz="457154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t>‹Nr.›</a:t>
            </a:fld>
            <a:endParaRPr lang="de-DE" sz="900" dirty="0">
              <a:solidFill>
                <a:srgbClr val="00377A"/>
              </a:solidFill>
            </a:endParaRPr>
          </a:p>
        </p:txBody>
      </p:sp>
      <p:pic>
        <p:nvPicPr>
          <p:cNvPr id="4" name="Bild 3" descr="Logo_blau.png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24359" y="368300"/>
            <a:ext cx="2344880" cy="5394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03680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89" r:id="rId4"/>
    <p:sldLayoutId id="2147483690" r:id="rId5"/>
    <p:sldLayoutId id="2147483691" r:id="rId6"/>
    <p:sldLayoutId id="2147483715" r:id="rId7"/>
  </p:sldLayoutIdLst>
  <p:hf hdr="0" ftr="0" dt="0"/>
  <p:txStyles>
    <p:titleStyle>
      <a:lvl1pPr algn="ctr" defTabSz="457154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866" indent="-342866" algn="l" defTabSz="457154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876" indent="-285722" algn="l" defTabSz="457154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887" indent="-228578" algn="l" defTabSz="457154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41" indent="-228578" algn="l" defTabSz="457154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195" indent="-228578" algn="l" defTabSz="457154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350" indent="-228578" algn="l" defTabSz="45715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03" indent="-228578" algn="l" defTabSz="45715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58" indent="-228578" algn="l" defTabSz="45715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15" indent="-228578" algn="l" defTabSz="45715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2pPr>
      <a:lvl3pPr marL="914310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4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8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2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7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4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orient="horz" pos="913" userDrawn="1">
          <p15:clr>
            <a:srgbClr val="F26B43"/>
          </p15:clr>
        </p15:guide>
        <p15:guide id="4" orient="horz" pos="3589" userDrawn="1">
          <p15:clr>
            <a:srgbClr val="F26B43"/>
          </p15:clr>
        </p15:guide>
        <p15:guide id="5" pos="7167" userDrawn="1">
          <p15:clr>
            <a:srgbClr val="F26B43"/>
          </p15:clr>
        </p15:guide>
        <p15:guide id="6" pos="1250" userDrawn="1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6E817DA6-E3BD-49BF-867B-D57B559DD3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0942251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7" name="think-cell Folie" r:id="rId10" imgW="344" imgH="345" progId="TCLayout.ActiveDocument.1">
                  <p:embed/>
                </p:oleObj>
              </mc:Choice>
              <mc:Fallback>
                <p:oleObj name="think-cell Folie" r:id="rId10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platzhalter 35"/>
          <p:cNvSpPr txBox="1">
            <a:spLocks/>
          </p:cNvSpPr>
          <p:nvPr userDrawn="1"/>
        </p:nvSpPr>
        <p:spPr>
          <a:xfrm>
            <a:off x="817053" y="6491302"/>
            <a:ext cx="10562167" cy="224771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r" defTabSz="457200" rtl="0" eaLnBrk="1" latinLnBrk="0" hangingPunct="1">
              <a:spcBef>
                <a:spcPct val="20000"/>
              </a:spcBef>
              <a:buFont typeface="Arial"/>
              <a:buNone/>
              <a:defRPr sz="1000" kern="1200" baseline="0">
                <a:solidFill>
                  <a:srgbClr val="04174C"/>
                </a:solidFill>
                <a:latin typeface="Arial"/>
                <a:ea typeface="+mn-ea"/>
                <a:cs typeface="Arial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l" defTabSz="45715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de-AT" sz="900" dirty="0">
                <a:solidFill>
                  <a:srgbClr val="00377A"/>
                </a:solidFill>
              </a:rPr>
              <a:t>Kreativwirtschaft NEU | Seite </a:t>
            </a:r>
            <a:fld id="{58321080-53F8-5341-9F63-369F9D6D606E}" type="slidenum">
              <a:rPr lang="de-DE" sz="900" smtClean="0">
                <a:solidFill>
                  <a:srgbClr val="00377A"/>
                </a:solidFill>
              </a:rPr>
              <a:pPr marL="0" marR="0" indent="0" algn="l" defTabSz="457154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t>‹Nr.›</a:t>
            </a:fld>
            <a:endParaRPr lang="de-DE" sz="900" dirty="0">
              <a:solidFill>
                <a:srgbClr val="00377A"/>
              </a:solidFill>
            </a:endParaRPr>
          </a:p>
        </p:txBody>
      </p:sp>
      <p:pic>
        <p:nvPicPr>
          <p:cNvPr id="4" name="Bild 3" descr="Logo_blau.png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24359" y="368300"/>
            <a:ext cx="2344880" cy="5394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83441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712" r:id="rId5"/>
    <p:sldLayoutId id="2147483697" r:id="rId6"/>
  </p:sldLayoutIdLst>
  <p:hf hdr="0" ftr="0" dt="0"/>
  <p:txStyles>
    <p:titleStyle>
      <a:lvl1pPr algn="ctr" defTabSz="457154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866" indent="-342866" algn="l" defTabSz="457154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876" indent="-285722" algn="l" defTabSz="457154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887" indent="-228578" algn="l" defTabSz="457154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41" indent="-228578" algn="l" defTabSz="457154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195" indent="-228578" algn="l" defTabSz="457154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350" indent="-228578" algn="l" defTabSz="45715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03" indent="-228578" algn="l" defTabSz="45715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58" indent="-228578" algn="l" defTabSz="45715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15" indent="-228578" algn="l" defTabSz="45715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2pPr>
      <a:lvl3pPr marL="914310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4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8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2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7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4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orient="horz" pos="913" userDrawn="1">
          <p15:clr>
            <a:srgbClr val="F26B43"/>
          </p15:clr>
        </p15:guide>
        <p15:guide id="4" orient="horz" pos="3589" userDrawn="1">
          <p15:clr>
            <a:srgbClr val="F26B43"/>
          </p15:clr>
        </p15:guide>
        <p15:guide id="5" pos="7167" userDrawn="1">
          <p15:clr>
            <a:srgbClr val="F26B43"/>
          </p15:clr>
        </p15:guide>
        <p15:guide id="6" pos="1250" userDrawn="1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1B98B1E9-78C2-4B69-9FD3-E4C44D0A6FE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8578842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1" name="think-cell Folie" r:id="rId9" imgW="344" imgH="345" progId="TCLayout.ActiveDocument.1">
                  <p:embed/>
                </p:oleObj>
              </mc:Choice>
              <mc:Fallback>
                <p:oleObj name="think-cell Folie" r:id="rId9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platzhalter 35"/>
          <p:cNvSpPr txBox="1">
            <a:spLocks/>
          </p:cNvSpPr>
          <p:nvPr userDrawn="1"/>
        </p:nvSpPr>
        <p:spPr>
          <a:xfrm>
            <a:off x="817053" y="6491302"/>
            <a:ext cx="10562167" cy="224771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r" defTabSz="457200" rtl="0" eaLnBrk="1" latinLnBrk="0" hangingPunct="1">
              <a:spcBef>
                <a:spcPct val="20000"/>
              </a:spcBef>
              <a:buFont typeface="Arial"/>
              <a:buNone/>
              <a:defRPr sz="1000" kern="1200" baseline="0">
                <a:solidFill>
                  <a:srgbClr val="04174C"/>
                </a:solidFill>
                <a:latin typeface="Arial"/>
                <a:ea typeface="+mn-ea"/>
                <a:cs typeface="Arial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l" defTabSz="45715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de-AT" sz="900" dirty="0">
                <a:solidFill>
                  <a:srgbClr val="00377A"/>
                </a:solidFill>
              </a:rPr>
              <a:t>Titel des Vortrags | Name des Vortragenden</a:t>
            </a:r>
            <a:r>
              <a:rPr lang="de-AT" sz="900" baseline="0" dirty="0">
                <a:solidFill>
                  <a:srgbClr val="00377A"/>
                </a:solidFill>
              </a:rPr>
              <a:t> </a:t>
            </a:r>
            <a:r>
              <a:rPr lang="de-AT" sz="900" dirty="0">
                <a:solidFill>
                  <a:srgbClr val="00377A"/>
                </a:solidFill>
              </a:rPr>
              <a:t>| Seite </a:t>
            </a:r>
            <a:fld id="{58321080-53F8-5341-9F63-369F9D6D606E}" type="slidenum">
              <a:rPr lang="de-DE" sz="900" smtClean="0">
                <a:solidFill>
                  <a:srgbClr val="00377A"/>
                </a:solidFill>
              </a:rPr>
              <a:pPr marL="0" marR="0" indent="0" algn="l" defTabSz="457154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t>‹Nr.›</a:t>
            </a:fld>
            <a:endParaRPr lang="de-DE" sz="900" dirty="0">
              <a:solidFill>
                <a:srgbClr val="00377A"/>
              </a:solidFill>
            </a:endParaRPr>
          </a:p>
        </p:txBody>
      </p:sp>
      <p:pic>
        <p:nvPicPr>
          <p:cNvPr id="4" name="Bild 3" descr="Logo_blau.png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24359" y="368300"/>
            <a:ext cx="2344880" cy="5394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70533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</p:sldLayoutIdLst>
  <p:hf hdr="0" ftr="0" dt="0"/>
  <p:txStyles>
    <p:titleStyle>
      <a:lvl1pPr algn="ctr" defTabSz="457154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866" indent="-342866" algn="l" defTabSz="457154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876" indent="-285722" algn="l" defTabSz="457154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887" indent="-228578" algn="l" defTabSz="457154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41" indent="-228578" algn="l" defTabSz="457154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195" indent="-228578" algn="l" defTabSz="457154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350" indent="-228578" algn="l" defTabSz="45715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03" indent="-228578" algn="l" defTabSz="45715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58" indent="-228578" algn="l" defTabSz="45715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15" indent="-228578" algn="l" defTabSz="45715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2pPr>
      <a:lvl3pPr marL="914310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4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8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2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7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4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orient="horz" pos="913" userDrawn="1">
          <p15:clr>
            <a:srgbClr val="F26B43"/>
          </p15:clr>
        </p15:guide>
        <p15:guide id="4" orient="horz" pos="3589" userDrawn="1">
          <p15:clr>
            <a:srgbClr val="F26B43"/>
          </p15:clr>
        </p15:guide>
        <p15:guide id="5" pos="7167" userDrawn="1">
          <p15:clr>
            <a:srgbClr val="F26B43"/>
          </p15:clr>
        </p15:guide>
        <p15:guide id="6" pos="513" userDrawn="1">
          <p15:clr>
            <a:srgbClr val="F26B43"/>
          </p15:clr>
        </p15:guide>
        <p15:guide id="7" pos="1263" userDrawn="1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2FA3493E-A847-4B27-BCBA-BE14B0ECCBE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2728009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5" name="think-cell Folie" r:id="rId8" imgW="344" imgH="345" progId="TCLayout.ActiveDocument.1">
                  <p:embed/>
                </p:oleObj>
              </mc:Choice>
              <mc:Fallback>
                <p:oleObj name="think-cell Folie" r:id="rId8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platzhalter 35"/>
          <p:cNvSpPr txBox="1">
            <a:spLocks/>
          </p:cNvSpPr>
          <p:nvPr userDrawn="1"/>
        </p:nvSpPr>
        <p:spPr>
          <a:xfrm>
            <a:off x="817053" y="6491302"/>
            <a:ext cx="10562167" cy="224771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r" defTabSz="457200" rtl="0" eaLnBrk="1" latinLnBrk="0" hangingPunct="1">
              <a:spcBef>
                <a:spcPct val="20000"/>
              </a:spcBef>
              <a:buFont typeface="Arial"/>
              <a:buNone/>
              <a:defRPr sz="1000" kern="1200" baseline="0">
                <a:solidFill>
                  <a:srgbClr val="04174C"/>
                </a:solidFill>
                <a:latin typeface="Arial"/>
                <a:ea typeface="+mn-ea"/>
                <a:cs typeface="Arial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l" defTabSz="45715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de-AT" sz="900" dirty="0">
                <a:solidFill>
                  <a:srgbClr val="00377A"/>
                </a:solidFill>
              </a:rPr>
              <a:t>Titel des Vortrags | Name des Vortragenden</a:t>
            </a:r>
            <a:r>
              <a:rPr lang="de-AT" sz="900" baseline="0" dirty="0">
                <a:solidFill>
                  <a:srgbClr val="00377A"/>
                </a:solidFill>
              </a:rPr>
              <a:t> </a:t>
            </a:r>
            <a:r>
              <a:rPr lang="de-AT" sz="900" dirty="0">
                <a:solidFill>
                  <a:srgbClr val="00377A"/>
                </a:solidFill>
              </a:rPr>
              <a:t>| Seite </a:t>
            </a:r>
            <a:fld id="{58321080-53F8-5341-9F63-369F9D6D606E}" type="slidenum">
              <a:rPr lang="de-DE" sz="900" smtClean="0">
                <a:solidFill>
                  <a:srgbClr val="00377A"/>
                </a:solidFill>
              </a:rPr>
              <a:pPr marL="0" marR="0" indent="0" algn="l" defTabSz="457154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t>‹Nr.›</a:t>
            </a:fld>
            <a:endParaRPr lang="de-DE" sz="900" dirty="0">
              <a:solidFill>
                <a:srgbClr val="00377A"/>
              </a:solidFill>
            </a:endParaRPr>
          </a:p>
        </p:txBody>
      </p:sp>
      <p:pic>
        <p:nvPicPr>
          <p:cNvPr id="4" name="Bild 3" descr="Logo_blau.png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24359" y="368300"/>
            <a:ext cx="2344880" cy="5394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65869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4" r:id="rId4"/>
  </p:sldLayoutIdLst>
  <p:hf hdr="0" ftr="0" dt="0"/>
  <p:txStyles>
    <p:titleStyle>
      <a:lvl1pPr algn="ctr" defTabSz="457154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866" indent="-342866" algn="l" defTabSz="457154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876" indent="-285722" algn="l" defTabSz="457154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887" indent="-228578" algn="l" defTabSz="457154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41" indent="-228578" algn="l" defTabSz="457154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195" indent="-228578" algn="l" defTabSz="457154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350" indent="-228578" algn="l" defTabSz="45715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03" indent="-228578" algn="l" defTabSz="45715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58" indent="-228578" algn="l" defTabSz="45715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15" indent="-228578" algn="l" defTabSz="45715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2pPr>
      <a:lvl3pPr marL="914310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4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8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2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7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4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orient="horz" pos="913" userDrawn="1">
          <p15:clr>
            <a:srgbClr val="F26B43"/>
          </p15:clr>
        </p15:guide>
        <p15:guide id="4" orient="horz" pos="3589" userDrawn="1">
          <p15:clr>
            <a:srgbClr val="F26B43"/>
          </p15:clr>
        </p15:guide>
        <p15:guide id="5" pos="7167" userDrawn="1">
          <p15:clr>
            <a:srgbClr val="F26B43"/>
          </p15:clr>
        </p15:guide>
        <p15:guide id="6" pos="513" userDrawn="1">
          <p15:clr>
            <a:srgbClr val="F26B43"/>
          </p15:clr>
        </p15:guide>
        <p15:guide id="7" pos="1263" userDrawn="1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0CCA29C-1B32-4F59-963A-86CC696FF44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7502555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9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platzhalter 35"/>
          <p:cNvSpPr txBox="1">
            <a:spLocks/>
          </p:cNvSpPr>
          <p:nvPr userDrawn="1"/>
        </p:nvSpPr>
        <p:spPr>
          <a:xfrm>
            <a:off x="817053" y="6491302"/>
            <a:ext cx="10562167" cy="224771"/>
          </a:xfrm>
          <a:prstGeom prst="rect">
            <a:avLst/>
          </a:prstGeom>
        </p:spPr>
        <p:txBody>
          <a:bodyPr vert="horz" lIns="0" tIns="0" rIns="0" bIns="0" anchor="t" anchorCtr="0"/>
          <a:lstStyle>
            <a:lvl1pPr marL="0" indent="0" algn="r" defTabSz="457200" rtl="0" eaLnBrk="1" latinLnBrk="0" hangingPunct="1">
              <a:spcBef>
                <a:spcPct val="20000"/>
              </a:spcBef>
              <a:buFont typeface="Arial"/>
              <a:buNone/>
              <a:defRPr sz="1000" kern="1200" baseline="0">
                <a:solidFill>
                  <a:srgbClr val="04174C"/>
                </a:solidFill>
                <a:latin typeface="Arial"/>
                <a:ea typeface="+mn-ea"/>
                <a:cs typeface="Arial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l" defTabSz="45715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de-AT" sz="900" dirty="0">
                <a:solidFill>
                  <a:srgbClr val="00377A"/>
                </a:solidFill>
              </a:rPr>
              <a:t>Titel des Vortrags | Name des Vortragenden</a:t>
            </a:r>
            <a:r>
              <a:rPr lang="de-AT" sz="900" baseline="0" dirty="0">
                <a:solidFill>
                  <a:srgbClr val="00377A"/>
                </a:solidFill>
              </a:rPr>
              <a:t> </a:t>
            </a:r>
            <a:r>
              <a:rPr lang="de-AT" sz="900" dirty="0">
                <a:solidFill>
                  <a:srgbClr val="00377A"/>
                </a:solidFill>
              </a:rPr>
              <a:t>| Seite </a:t>
            </a:r>
            <a:fld id="{58321080-53F8-5341-9F63-369F9D6D606E}" type="slidenum">
              <a:rPr lang="de-DE" sz="900" smtClean="0">
                <a:solidFill>
                  <a:srgbClr val="00377A"/>
                </a:solidFill>
              </a:rPr>
              <a:pPr marL="0" marR="0" indent="0" algn="l" defTabSz="457154" rtl="0" eaLnBrk="1" fontAlgn="auto" latinLnBrk="0" hangingPunct="1">
                <a:lnSpc>
                  <a:spcPct val="100000"/>
                </a:lnSpc>
                <a:spcBef>
                  <a:spcPct val="20000"/>
                </a:spcBef>
                <a:spcAft>
                  <a:spcPts val="0"/>
                </a:spcAft>
                <a:buClrTx/>
                <a:buSzTx/>
                <a:buFont typeface="Arial"/>
                <a:buNone/>
                <a:tabLst/>
                <a:defRPr/>
              </a:pPr>
              <a:t>‹Nr.›</a:t>
            </a:fld>
            <a:endParaRPr lang="de-DE" sz="900" dirty="0">
              <a:solidFill>
                <a:srgbClr val="00377A"/>
              </a:solidFill>
            </a:endParaRPr>
          </a:p>
        </p:txBody>
      </p:sp>
      <p:pic>
        <p:nvPicPr>
          <p:cNvPr id="4" name="Bild 3" descr="Logo_blau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24359" y="368300"/>
            <a:ext cx="2344880" cy="5394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16237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</p:sldLayoutIdLst>
  <p:hf hdr="0" ftr="0" dt="0"/>
  <p:txStyles>
    <p:titleStyle>
      <a:lvl1pPr algn="ctr" defTabSz="457154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866" indent="-342866" algn="l" defTabSz="457154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876" indent="-285722" algn="l" defTabSz="457154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887" indent="-228578" algn="l" defTabSz="457154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041" indent="-228578" algn="l" defTabSz="457154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195" indent="-228578" algn="l" defTabSz="457154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350" indent="-228578" algn="l" defTabSz="45715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503" indent="-228578" algn="l" defTabSz="45715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658" indent="-228578" algn="l" defTabSz="45715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15" indent="-228578" algn="l" defTabSz="457154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1pPr>
      <a:lvl2pPr marL="457154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2pPr>
      <a:lvl3pPr marL="914310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3pPr>
      <a:lvl4pPr marL="1371464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4pPr>
      <a:lvl5pPr marL="1828618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5pPr>
      <a:lvl6pPr marL="2285772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6pPr>
      <a:lvl7pPr marL="2742927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7pPr>
      <a:lvl8pPr marL="3200080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8pPr>
      <a:lvl9pPr marL="3657234" algn="l" defTabSz="457154" rtl="0" eaLnBrk="1" latinLnBrk="0" hangingPunct="1">
        <a:defRPr sz="180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orient="horz" pos="913" userDrawn="1">
          <p15:clr>
            <a:srgbClr val="F26B43"/>
          </p15:clr>
        </p15:guide>
        <p15:guide id="4" orient="horz" pos="3589" userDrawn="1">
          <p15:clr>
            <a:srgbClr val="F26B43"/>
          </p15:clr>
        </p15:guide>
        <p15:guide id="5" pos="7167" userDrawn="1">
          <p15:clr>
            <a:srgbClr val="F26B43"/>
          </p15:clr>
        </p15:guide>
        <p15:guide id="6" pos="513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2.png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FE48284C-764B-4A81-933F-CB98B8FDD94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643079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1" name="think-cell Folie" r:id="rId4" imgW="344" imgH="345" progId="TCLayout.ActiveDocument.1">
                  <p:embed/>
                </p:oleObj>
              </mc:Choice>
              <mc:Fallback>
                <p:oleObj name="think-cell Folie" r:id="rId4" imgW="344" imgH="34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>
            <a:extLst>
              <a:ext uri="{FF2B5EF4-FFF2-40B4-BE49-F238E27FC236}">
                <a16:creationId xmlns:a16="http://schemas.microsoft.com/office/drawing/2014/main" id="{2C4E1144-8A2C-4ACB-B508-21E9152BE85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25499" y="3741600"/>
            <a:ext cx="10541001" cy="2009775"/>
          </a:xfrm>
        </p:spPr>
        <p:txBody>
          <a:bodyPr/>
          <a:lstStyle/>
          <a:p>
            <a:r>
              <a:rPr lang="en-US" sz="3600" b="1" dirty="0">
                <a:latin typeface="+mj-lt"/>
              </a:rPr>
              <a:t>Verified Social Enterprise</a:t>
            </a:r>
          </a:p>
          <a:p>
            <a:r>
              <a:rPr lang="en-US" sz="5400" dirty="0"/>
              <a:t>Pitch Deck - Vorlage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ADABB302-DFF4-4255-A7FF-A52EDB9F85A0}"/>
              </a:ext>
            </a:extLst>
          </p:cNvPr>
          <p:cNvSpPr/>
          <p:nvPr/>
        </p:nvSpPr>
        <p:spPr>
          <a:xfrm>
            <a:off x="803275" y="466598"/>
            <a:ext cx="3680236" cy="41203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AA0928AA-354F-4AE9-B94F-40475CAB0823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5499" y="466599"/>
            <a:ext cx="1677376" cy="412030"/>
          </a:xfrm>
          <a:prstGeom prst="rect">
            <a:avLst/>
          </a:prstGeom>
        </p:spPr>
      </p:pic>
      <p:pic>
        <p:nvPicPr>
          <p:cNvPr id="5" name="Grafik 4" descr="Ein Bild, das Text enthält.&#10;&#10;Automatisch generierte Beschreibung">
            <a:extLst>
              <a:ext uri="{FF2B5EF4-FFF2-40B4-BE49-F238E27FC236}">
                <a16:creationId xmlns:a16="http://schemas.microsoft.com/office/drawing/2014/main" id="{6F333B95-B228-40BF-80C4-9687DF790FDA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3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9803" y="588313"/>
            <a:ext cx="1520182" cy="2168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21914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86605094-9A08-4054-BC1A-390E0E6B8F7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06468" y="985233"/>
            <a:ext cx="10551581" cy="1005247"/>
          </a:xfrm>
        </p:spPr>
        <p:txBody>
          <a:bodyPr/>
          <a:lstStyle/>
          <a:p>
            <a:r>
              <a:rPr lang="en-US" sz="3600" dirty="0" err="1"/>
              <a:t>Geschäftsmodell</a:t>
            </a:r>
            <a:r>
              <a:rPr lang="en-US" sz="3600" dirty="0"/>
              <a:t> </a:t>
            </a:r>
            <a:r>
              <a:rPr lang="en-US" sz="2000" b="0" dirty="0"/>
              <a:t>(1 Folie)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3E300C9-AA43-4AD3-B88A-2A4774EF47E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sz="1100" b="1" dirty="0"/>
              <a:t>Verified Social Enterpris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75A52A79-96DA-4513-9F42-35A9554AE7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12816" y="2556127"/>
            <a:ext cx="11379184" cy="3420000"/>
          </a:xfrm>
        </p:spPr>
        <p:txBody>
          <a:bodyPr/>
          <a:lstStyle/>
          <a:p>
            <a:pPr marL="0" indent="0" eaLnBrk="1" fontAlgn="auto" hangingPunct="1">
              <a:lnSpc>
                <a:spcPct val="150000"/>
              </a:lnSpc>
              <a:spcAft>
                <a:spcPts val="0"/>
              </a:spcAft>
              <a:buNone/>
              <a:defRPr/>
            </a:pPr>
            <a:r>
              <a:rPr lang="de-DE" altLang="de-DE" sz="2000" dirty="0"/>
              <a:t>Bitte gehen Sie auf folgende Aspekte ein:</a:t>
            </a:r>
          </a:p>
          <a:p>
            <a:pPr>
              <a:lnSpc>
                <a:spcPct val="150000"/>
              </a:lnSpc>
              <a:defRPr/>
            </a:pPr>
            <a:r>
              <a:rPr lang="de-DE" altLang="de-DE" sz="2000" b="0" dirty="0"/>
              <a:t>Vorstellung des Geschäftsmodells 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94276E2D-6078-4057-86FE-938DD9721F7F}"/>
              </a:ext>
            </a:extLst>
          </p:cNvPr>
          <p:cNvSpPr txBox="1"/>
          <p:nvPr/>
        </p:nvSpPr>
        <p:spPr>
          <a:xfrm>
            <a:off x="10926534" y="6349429"/>
            <a:ext cx="86302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F9BBD76A-316A-400F-887B-FAC7EB9659B1}" type="slidenum">
              <a:rPr lang="de-AT" sz="1200" smtClean="0">
                <a:latin typeface="Arial" panose="020B0604020202020204" pitchFamily="34" charset="0"/>
                <a:cs typeface="Arial" panose="020B0604020202020204" pitchFamily="34" charset="0"/>
              </a:rPr>
              <a:pPr algn="r"/>
              <a:t>10</a:t>
            </a:fld>
            <a:endParaRPr lang="de-AT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Grafik 8" descr="Ein Bild, das Text enthält.&#10;&#10;Automatisch generierte Beschreibung">
            <a:extLst>
              <a:ext uri="{FF2B5EF4-FFF2-40B4-BE49-F238E27FC236}">
                <a16:creationId xmlns:a16="http://schemas.microsoft.com/office/drawing/2014/main" id="{0E06DA01-B49E-4331-ABE1-740F142046C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68" y="928713"/>
            <a:ext cx="1569353" cy="2238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35066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86605094-9A08-4054-BC1A-390E0E6B8F7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06468" y="985233"/>
            <a:ext cx="10551581" cy="1005247"/>
          </a:xfrm>
        </p:spPr>
        <p:txBody>
          <a:bodyPr/>
          <a:lstStyle/>
          <a:p>
            <a:r>
              <a:rPr lang="en-US" sz="3600" dirty="0"/>
              <a:t>Team </a:t>
            </a:r>
            <a:r>
              <a:rPr lang="en-US" sz="2000" b="0" dirty="0"/>
              <a:t>(1 Folie)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3E300C9-AA43-4AD3-B88A-2A4774EF47E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sz="1100" b="1" dirty="0"/>
              <a:t>Verified Social Enterpris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75A52A79-96DA-4513-9F42-35A9554AE7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12817" y="2556127"/>
            <a:ext cx="10562168" cy="3420000"/>
          </a:xfrm>
        </p:spPr>
        <p:txBody>
          <a:bodyPr/>
          <a:lstStyle/>
          <a:p>
            <a:pPr marL="0" indent="0" eaLnBrk="1" fontAlgn="auto" hangingPunct="1">
              <a:lnSpc>
                <a:spcPct val="150000"/>
              </a:lnSpc>
              <a:spcAft>
                <a:spcPts val="0"/>
              </a:spcAft>
              <a:buNone/>
              <a:defRPr/>
            </a:pPr>
            <a:r>
              <a:rPr lang="de-DE" altLang="de-DE" sz="2000" dirty="0"/>
              <a:t>Bitte gehen Sie auf folgende Aspekte ein:</a:t>
            </a:r>
          </a:p>
          <a:p>
            <a:pPr>
              <a:lnSpc>
                <a:spcPct val="150000"/>
              </a:lnSpc>
              <a:defRPr/>
            </a:pPr>
            <a:r>
              <a:rPr lang="de-DE" altLang="de-DE" sz="2000" b="0" dirty="0"/>
              <a:t>Vorstellung des/der </a:t>
            </a:r>
            <a:r>
              <a:rPr lang="de-DE" altLang="de-DE" sz="2000" b="0" dirty="0" err="1"/>
              <a:t>Hauptantragsteller:in</a:t>
            </a:r>
            <a:r>
              <a:rPr lang="de-DE" altLang="de-DE" sz="2000" b="0" dirty="0"/>
              <a:t> und des Kernteams (mit Fotos)</a:t>
            </a:r>
          </a:p>
          <a:p>
            <a:pPr>
              <a:lnSpc>
                <a:spcPct val="150000"/>
              </a:lnSpc>
              <a:defRPr/>
            </a:pPr>
            <a:r>
              <a:rPr lang="de-DE" altLang="de-DE" sz="2000" b="0" dirty="0"/>
              <a:t>Tipp: Gerne können Sie auf die jeweiligen LinkedIn-Profile der Teammitglieder o.ä. verlinken</a:t>
            </a:r>
            <a:endParaRPr lang="de-DE" sz="2000" b="0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31071C43-665F-4883-9D60-6F0B8AF2A5F9}"/>
              </a:ext>
            </a:extLst>
          </p:cNvPr>
          <p:cNvSpPr txBox="1"/>
          <p:nvPr/>
        </p:nvSpPr>
        <p:spPr>
          <a:xfrm>
            <a:off x="10926534" y="6349429"/>
            <a:ext cx="86302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F9BBD76A-316A-400F-887B-FAC7EB9659B1}" type="slidenum">
              <a:rPr lang="de-AT" sz="1200" smtClean="0">
                <a:latin typeface="Arial" panose="020B0604020202020204" pitchFamily="34" charset="0"/>
                <a:cs typeface="Arial" panose="020B0604020202020204" pitchFamily="34" charset="0"/>
              </a:rPr>
              <a:pPr algn="r"/>
              <a:t>11</a:t>
            </a:fld>
            <a:endParaRPr lang="de-AT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Grafik 8" descr="Ein Bild, das Text enthält.&#10;&#10;Automatisch generierte Beschreibung">
            <a:extLst>
              <a:ext uri="{FF2B5EF4-FFF2-40B4-BE49-F238E27FC236}">
                <a16:creationId xmlns:a16="http://schemas.microsoft.com/office/drawing/2014/main" id="{4E1CCE05-7A74-40D8-937C-F89FA5EA1C7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68" y="928713"/>
            <a:ext cx="1569353" cy="2238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55251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86605094-9A08-4054-BC1A-390E0E6B8F7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06468" y="985233"/>
            <a:ext cx="10551581" cy="1005247"/>
          </a:xfrm>
        </p:spPr>
        <p:txBody>
          <a:bodyPr/>
          <a:lstStyle/>
          <a:p>
            <a:r>
              <a:rPr lang="en-US" sz="3600" dirty="0"/>
              <a:t>Vision &amp; Wachstum </a:t>
            </a:r>
            <a:r>
              <a:rPr lang="en-US" sz="2000" b="0" dirty="0"/>
              <a:t>(1 Folie)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3E300C9-AA43-4AD3-B88A-2A4774EF47E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sz="1100" b="1" dirty="0"/>
              <a:t>Verified Social Enterpris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75A52A79-96DA-4513-9F42-35A9554AE7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12817" y="2556127"/>
            <a:ext cx="10562168" cy="3420000"/>
          </a:xfrm>
        </p:spPr>
        <p:txBody>
          <a:bodyPr/>
          <a:lstStyle/>
          <a:p>
            <a:pPr marL="0" indent="0" eaLnBrk="1" fontAlgn="auto" hangingPunct="1">
              <a:lnSpc>
                <a:spcPct val="150000"/>
              </a:lnSpc>
              <a:spcAft>
                <a:spcPts val="0"/>
              </a:spcAft>
              <a:buNone/>
              <a:defRPr/>
            </a:pPr>
            <a:r>
              <a:rPr lang="de-DE" altLang="de-DE" sz="2000" dirty="0"/>
              <a:t>Bitte gehen Sie auf folgende Aspekte ein:</a:t>
            </a:r>
          </a:p>
          <a:p>
            <a:pPr>
              <a:lnSpc>
                <a:spcPct val="150000"/>
              </a:lnSpc>
              <a:defRPr/>
            </a:pPr>
            <a:r>
              <a:rPr lang="de-DE" altLang="de-DE" sz="1800" b="0" dirty="0"/>
              <a:t>Erläutern Sie die Vision Ihres/r Unternehmens, Genossenschaft, Verein. (Führen Sie ggf. Mission- sowie Vision Statements an) </a:t>
            </a:r>
          </a:p>
          <a:p>
            <a:pPr>
              <a:lnSpc>
                <a:spcPct val="150000"/>
              </a:lnSpc>
              <a:defRPr/>
            </a:pPr>
            <a:r>
              <a:rPr lang="de-DE" altLang="de-DE" sz="1800" b="0" dirty="0"/>
              <a:t>Welche Pläne / Vorstellungen gibt es für zukünftiges Wachstum und Finanzierung?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26941AB6-13F5-49D8-8937-E91678629181}"/>
              </a:ext>
            </a:extLst>
          </p:cNvPr>
          <p:cNvSpPr txBox="1"/>
          <p:nvPr/>
        </p:nvSpPr>
        <p:spPr>
          <a:xfrm>
            <a:off x="10926534" y="6349429"/>
            <a:ext cx="86302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F9BBD76A-316A-400F-887B-FAC7EB9659B1}" type="slidenum">
              <a:rPr lang="de-AT" sz="1200" smtClean="0">
                <a:latin typeface="Arial" panose="020B0604020202020204" pitchFamily="34" charset="0"/>
                <a:cs typeface="Arial" panose="020B0604020202020204" pitchFamily="34" charset="0"/>
              </a:rPr>
              <a:pPr algn="r"/>
              <a:t>12</a:t>
            </a:fld>
            <a:endParaRPr lang="de-AT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Grafik 8" descr="Ein Bild, das Text enthält.&#10;&#10;Automatisch generierte Beschreibung">
            <a:extLst>
              <a:ext uri="{FF2B5EF4-FFF2-40B4-BE49-F238E27FC236}">
                <a16:creationId xmlns:a16="http://schemas.microsoft.com/office/drawing/2014/main" id="{FBF4813F-8F99-4D67-99F7-68706F932B6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68" y="928713"/>
            <a:ext cx="1569353" cy="2238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026168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86605094-9A08-4054-BC1A-390E0E6B8F7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06468" y="985233"/>
            <a:ext cx="10551581" cy="1005247"/>
          </a:xfrm>
        </p:spPr>
        <p:txBody>
          <a:bodyPr/>
          <a:lstStyle/>
          <a:p>
            <a:r>
              <a:rPr lang="en-US" sz="3600" dirty="0"/>
              <a:t>Pitch Deck - Vorlage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3E300C9-AA43-4AD3-B88A-2A4774EF47E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sz="1100" b="1" dirty="0"/>
              <a:t>Verified Social Enterprise</a:t>
            </a:r>
          </a:p>
          <a:p>
            <a:endParaRPr lang="en-US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75A52A79-96DA-4513-9F42-35A9554AE7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12817" y="2556000"/>
            <a:ext cx="10562168" cy="3420000"/>
          </a:xfrm>
        </p:spPr>
        <p:txBody>
          <a:bodyPr/>
          <a:lstStyle/>
          <a:p>
            <a:pPr marL="0" indent="0" eaLnBrk="1" fontAlgn="auto" hangingPunct="1">
              <a:lnSpc>
                <a:spcPct val="150000"/>
              </a:lnSpc>
              <a:spcAft>
                <a:spcPts val="0"/>
              </a:spcAft>
              <a:buFont typeface="Arial" panose="020B0604020202020204" pitchFamily="34" charset="0"/>
              <a:buNone/>
              <a:defRPr/>
            </a:pPr>
            <a:r>
              <a:rPr lang="de-DE" altLang="de-DE" sz="2000" dirty="0"/>
              <a:t>Hinweise</a:t>
            </a:r>
            <a:r>
              <a:rPr lang="de-DE" altLang="de-DE" sz="1600" dirty="0"/>
              <a:t>: </a:t>
            </a:r>
          </a:p>
          <a:p>
            <a:pPr>
              <a:lnSpc>
                <a:spcPct val="150000"/>
              </a:lnSpc>
              <a:buFont typeface="Symbol" panose="05050102010706020507" pitchFamily="18" charset="2"/>
              <a:buChar char="-"/>
              <a:defRPr/>
            </a:pPr>
            <a:r>
              <a:rPr lang="de-DE" sz="2000" b="0" dirty="0"/>
              <a:t>Ziel des Pitch Decks ist eine </a:t>
            </a:r>
            <a:r>
              <a:rPr lang="de-DE" sz="2000" dirty="0">
                <a:solidFill>
                  <a:srgbClr val="00B0F0"/>
                </a:solidFill>
              </a:rPr>
              <a:t>klare und prägnante Zusammenfassung </a:t>
            </a:r>
            <a:r>
              <a:rPr lang="de-DE" sz="2000" b="0" dirty="0"/>
              <a:t>Ihrer Tätigkeiten.</a:t>
            </a:r>
          </a:p>
          <a:p>
            <a:pPr eaLnBrk="1" fontAlgn="auto" hangingPunct="1">
              <a:lnSpc>
                <a:spcPct val="150000"/>
              </a:lnSpc>
              <a:spcAft>
                <a:spcPts val="0"/>
              </a:spcAft>
              <a:buFont typeface="Symbol" panose="05050102010706020507" pitchFamily="18" charset="2"/>
              <a:buChar char="-"/>
              <a:defRPr/>
            </a:pPr>
            <a:r>
              <a:rPr lang="de-DE" altLang="de-DE" sz="2000" b="0" dirty="0"/>
              <a:t>Formatierung und Design des Pitch Decks sind </a:t>
            </a:r>
            <a:r>
              <a:rPr lang="de-DE" altLang="de-DE" sz="2000" dirty="0">
                <a:solidFill>
                  <a:srgbClr val="00B0F0"/>
                </a:solidFill>
              </a:rPr>
              <a:t>frei gestaltbar</a:t>
            </a:r>
            <a:r>
              <a:rPr lang="de-DE" altLang="de-DE" sz="2000" b="0" dirty="0"/>
              <a:t>.</a:t>
            </a:r>
          </a:p>
          <a:p>
            <a:pPr eaLnBrk="1" fontAlgn="auto" hangingPunct="1">
              <a:lnSpc>
                <a:spcPct val="150000"/>
              </a:lnSpc>
              <a:spcAft>
                <a:spcPts val="0"/>
              </a:spcAft>
              <a:buFont typeface="Symbol" panose="05050102010706020507" pitchFamily="18" charset="2"/>
              <a:buChar char="-"/>
              <a:defRPr/>
            </a:pPr>
            <a:r>
              <a:rPr lang="de-DE" altLang="de-DE" sz="2000" b="0" dirty="0"/>
              <a:t>Inhalt und Reihenfolge der Punkte sind </a:t>
            </a:r>
            <a:r>
              <a:rPr lang="de-DE" altLang="de-DE" sz="2000" dirty="0">
                <a:solidFill>
                  <a:srgbClr val="00B0F0"/>
                </a:solidFill>
              </a:rPr>
              <a:t>beizubehalten</a:t>
            </a:r>
            <a:r>
              <a:rPr lang="de-DE" altLang="de-DE" sz="2000" b="0" dirty="0"/>
              <a:t>.</a:t>
            </a:r>
          </a:p>
          <a:p>
            <a:pPr eaLnBrk="1" fontAlgn="auto" hangingPunct="1">
              <a:lnSpc>
                <a:spcPct val="150000"/>
              </a:lnSpc>
              <a:spcAft>
                <a:spcPts val="0"/>
              </a:spcAft>
              <a:buFont typeface="Symbol" panose="05050102010706020507" pitchFamily="18" charset="2"/>
              <a:buChar char="-"/>
              <a:defRPr/>
            </a:pPr>
            <a:r>
              <a:rPr lang="de-DE" sz="2000" b="0" dirty="0"/>
              <a:t>Die Hinweise und Leitfragen dienen als </a:t>
            </a:r>
            <a:r>
              <a:rPr lang="de-DE" sz="2000" dirty="0">
                <a:solidFill>
                  <a:srgbClr val="00B0F0"/>
                </a:solidFill>
              </a:rPr>
              <a:t>Orientierungshilfe </a:t>
            </a:r>
            <a:r>
              <a:rPr lang="de-DE" sz="2000" b="0" dirty="0"/>
              <a:t>und können sinnvoll ergänzt werden.</a:t>
            </a:r>
          </a:p>
          <a:p>
            <a:pPr eaLnBrk="1" fontAlgn="auto" hangingPunct="1">
              <a:lnSpc>
                <a:spcPct val="150000"/>
              </a:lnSpc>
              <a:spcAft>
                <a:spcPts val="0"/>
              </a:spcAft>
              <a:buFont typeface="Arial" panose="020B0604020202020204" pitchFamily="34" charset="0"/>
              <a:buChar char="‒"/>
              <a:defRPr/>
            </a:pPr>
            <a:endParaRPr lang="de-DE" sz="1600" b="0" dirty="0"/>
          </a:p>
          <a:p>
            <a:pPr marL="342900" indent="-342900">
              <a:buSzPct val="100000"/>
              <a:buFont typeface="+mj-lt"/>
              <a:buAutoNum type="arabicPeriod"/>
            </a:pPr>
            <a:endParaRPr lang="en-US" sz="1600" b="0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E50BFCE5-6A9B-45C2-ACD3-8A1B3BEC1C47}"/>
              </a:ext>
            </a:extLst>
          </p:cNvPr>
          <p:cNvSpPr txBox="1"/>
          <p:nvPr/>
        </p:nvSpPr>
        <p:spPr>
          <a:xfrm>
            <a:off x="10926534" y="6349429"/>
            <a:ext cx="86302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F9BBD76A-316A-400F-887B-FAC7EB9659B1}" type="slidenum">
              <a:rPr lang="de-AT" sz="1200" smtClean="0">
                <a:latin typeface="Arial" panose="020B0604020202020204" pitchFamily="34" charset="0"/>
                <a:cs typeface="Arial" panose="020B0604020202020204" pitchFamily="34" charset="0"/>
              </a:rPr>
              <a:pPr algn="r"/>
              <a:t>2</a:t>
            </a:fld>
            <a:endParaRPr lang="de-AT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Grafik 8" descr="Ein Bild, das Text enthält.&#10;&#10;Automatisch generierte Beschreibung">
            <a:extLst>
              <a:ext uri="{FF2B5EF4-FFF2-40B4-BE49-F238E27FC236}">
                <a16:creationId xmlns:a16="http://schemas.microsoft.com/office/drawing/2014/main" id="{966CB0AE-4419-4A76-B234-C3F6BD5E66C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68" y="928713"/>
            <a:ext cx="1569353" cy="2238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752780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86605094-9A08-4054-BC1A-390E0E6B8F7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06468" y="1002443"/>
            <a:ext cx="10551581" cy="1005247"/>
          </a:xfrm>
        </p:spPr>
        <p:txBody>
          <a:bodyPr/>
          <a:lstStyle/>
          <a:p>
            <a:r>
              <a:rPr lang="en-US" sz="3600" dirty="0"/>
              <a:t>Pitch Deck - Aufbau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3E300C9-AA43-4AD3-B88A-2A4774EF47E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sz="1100" b="1" dirty="0"/>
              <a:t>Verified Social Enterpris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75A52A79-96DA-4513-9F42-35A9554AE7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12817" y="2172470"/>
            <a:ext cx="10562168" cy="3420000"/>
          </a:xfrm>
        </p:spPr>
        <p:txBody>
          <a:bodyPr/>
          <a:lstStyle/>
          <a:p>
            <a:pPr marL="342900" indent="-342900">
              <a:buSzPct val="100000"/>
              <a:buFont typeface="+mj-lt"/>
              <a:buAutoNum type="arabicPeriod"/>
              <a:defRPr/>
            </a:pPr>
            <a:r>
              <a:rPr lang="de-DE" altLang="de-DE" sz="1600" b="0" dirty="0"/>
              <a:t>Titelseite / Unternehmen, Genossenschaft, Verein (1 Folie)</a:t>
            </a:r>
          </a:p>
          <a:p>
            <a:pPr marL="342900" indent="-342900">
              <a:buSzPct val="100000"/>
              <a:buFont typeface="+mj-lt"/>
              <a:buAutoNum type="arabicPeriod"/>
              <a:defRPr/>
            </a:pPr>
            <a:r>
              <a:rPr lang="de-DE" altLang="de-DE" sz="1600" b="0" dirty="0"/>
              <a:t>Problemstellung (1 Folie)</a:t>
            </a:r>
          </a:p>
          <a:p>
            <a:pPr marL="342900" indent="-342900">
              <a:buSzPct val="100000"/>
              <a:buFont typeface="+mj-lt"/>
              <a:buAutoNum type="arabicPeriod"/>
              <a:defRPr/>
            </a:pPr>
            <a:r>
              <a:rPr lang="de-DE" altLang="de-DE" sz="1600" b="0" dirty="0"/>
              <a:t>Lösung (1 Folie)</a:t>
            </a:r>
          </a:p>
          <a:p>
            <a:pPr marL="342900" indent="-342900">
              <a:buSzPct val="100000"/>
              <a:buFont typeface="+mj-lt"/>
              <a:buAutoNum type="arabicPeriod"/>
              <a:defRPr/>
            </a:pPr>
            <a:r>
              <a:rPr lang="de-DE" altLang="de-DE" sz="1600" b="0" dirty="0"/>
              <a:t>Wirkungslogik (1 Folie)</a:t>
            </a:r>
          </a:p>
          <a:p>
            <a:pPr marL="342900" indent="-342900">
              <a:buSzPct val="100000"/>
              <a:buFont typeface="+mj-lt"/>
              <a:buAutoNum type="arabicPeriod"/>
              <a:defRPr/>
            </a:pPr>
            <a:r>
              <a:rPr lang="de-DE" altLang="de-DE" sz="1600" b="0" dirty="0"/>
              <a:t>Leistungen und Zielgruppen (2 Folien)</a:t>
            </a:r>
          </a:p>
          <a:p>
            <a:pPr marL="342900" indent="-342900">
              <a:buSzPct val="100000"/>
              <a:buFont typeface="+mj-lt"/>
              <a:buAutoNum type="arabicPeriod"/>
              <a:defRPr/>
            </a:pPr>
            <a:r>
              <a:rPr lang="de-DE" altLang="de-DE" sz="1600" b="0" dirty="0"/>
              <a:t>Wirkung / gesellschaftlicher Mehrwert (2 Folien)</a:t>
            </a:r>
          </a:p>
          <a:p>
            <a:pPr marL="342900" indent="-342900">
              <a:buSzPct val="100000"/>
              <a:buFont typeface="+mj-lt"/>
              <a:buAutoNum type="arabicPeriod"/>
              <a:defRPr/>
            </a:pPr>
            <a:r>
              <a:rPr lang="de-DE" altLang="de-DE" sz="1600" b="0" dirty="0"/>
              <a:t>Geschäftsmodell (1 Folie)</a:t>
            </a:r>
          </a:p>
          <a:p>
            <a:pPr marL="342900" indent="-342900">
              <a:buSzPct val="100000"/>
              <a:buFont typeface="+mj-lt"/>
              <a:buAutoNum type="arabicPeriod"/>
              <a:defRPr/>
            </a:pPr>
            <a:r>
              <a:rPr lang="de-DE" altLang="de-DE" sz="1600" b="0" dirty="0"/>
              <a:t>Team (1 Folie) </a:t>
            </a:r>
            <a:endParaRPr lang="de-DE" altLang="de-DE" sz="1600" b="0" dirty="0">
              <a:highlight>
                <a:srgbClr val="FFFF00"/>
              </a:highlight>
            </a:endParaRPr>
          </a:p>
          <a:p>
            <a:pPr marL="342900" indent="-342900">
              <a:buSzPct val="100000"/>
              <a:buFont typeface="+mj-lt"/>
              <a:buAutoNum type="arabicPeriod"/>
              <a:defRPr/>
            </a:pPr>
            <a:r>
              <a:rPr lang="de-DE" altLang="de-DE" sz="1600" b="0" dirty="0"/>
              <a:t>Vision &amp; Wachstum (1 Folie)</a:t>
            </a:r>
          </a:p>
          <a:p>
            <a:pPr marL="342900" indent="-342900">
              <a:buSzPct val="100000"/>
              <a:buFont typeface="+mj-lt"/>
              <a:buAutoNum type="arabicPeriod"/>
              <a:defRPr/>
            </a:pPr>
            <a:endParaRPr lang="de-DE" altLang="de-DE" sz="1600" b="0" dirty="0"/>
          </a:p>
          <a:p>
            <a:pPr marL="342900" indent="-342900">
              <a:buSzPct val="100000"/>
              <a:buFont typeface="+mj-lt"/>
              <a:buAutoNum type="arabicPeriod"/>
              <a:defRPr/>
            </a:pPr>
            <a:endParaRPr lang="de-DE" altLang="de-DE" sz="1600" b="0" dirty="0"/>
          </a:p>
          <a:p>
            <a:pPr marL="0" indent="0">
              <a:buSzPct val="100000"/>
              <a:buNone/>
              <a:defRPr/>
            </a:pPr>
            <a:r>
              <a:rPr lang="de-DE" sz="1600" i="1" dirty="0">
                <a:solidFill>
                  <a:srgbClr val="00B0F0"/>
                </a:solidFill>
              </a:rPr>
              <a:t>								Max. 15 Folien insgesamt!</a:t>
            </a:r>
          </a:p>
          <a:p>
            <a:pPr marL="342900" indent="-342900">
              <a:buSzPct val="100000"/>
              <a:buFont typeface="+mj-lt"/>
              <a:buAutoNum type="arabicPeriod"/>
            </a:pPr>
            <a:endParaRPr lang="en-US" sz="1600" b="0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3B1B5388-4B7E-451E-B17F-4023A52339C8}"/>
              </a:ext>
            </a:extLst>
          </p:cNvPr>
          <p:cNvSpPr txBox="1"/>
          <p:nvPr/>
        </p:nvSpPr>
        <p:spPr>
          <a:xfrm>
            <a:off x="10926534" y="6349429"/>
            <a:ext cx="86302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F9BBD76A-316A-400F-887B-FAC7EB9659B1}" type="slidenum">
              <a:rPr lang="de-AT" sz="1200" smtClean="0">
                <a:latin typeface="Arial" panose="020B0604020202020204" pitchFamily="34" charset="0"/>
                <a:cs typeface="Arial" panose="020B0604020202020204" pitchFamily="34" charset="0"/>
              </a:rPr>
              <a:pPr algn="r"/>
              <a:t>3</a:t>
            </a:fld>
            <a:endParaRPr lang="de-AT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Grafik 9" descr="Ein Bild, das Text enthält.&#10;&#10;Automatisch generierte Beschreibung">
            <a:extLst>
              <a:ext uri="{FF2B5EF4-FFF2-40B4-BE49-F238E27FC236}">
                <a16:creationId xmlns:a16="http://schemas.microsoft.com/office/drawing/2014/main" id="{175165F7-2C6B-45B2-A3AD-AE05E2B9B48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68" y="928713"/>
            <a:ext cx="1569353" cy="2238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602352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86605094-9A08-4054-BC1A-390E0E6B8F7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06468" y="985233"/>
            <a:ext cx="10551581" cy="1005247"/>
          </a:xfrm>
        </p:spPr>
        <p:txBody>
          <a:bodyPr/>
          <a:lstStyle/>
          <a:p>
            <a:r>
              <a:rPr lang="en-US" sz="2800" dirty="0" err="1"/>
              <a:t>Titelseite</a:t>
            </a:r>
            <a:r>
              <a:rPr lang="en-US" sz="2800" dirty="0"/>
              <a:t> / </a:t>
            </a:r>
            <a:r>
              <a:rPr lang="en-US" sz="2800" dirty="0" err="1"/>
              <a:t>Unternehmen</a:t>
            </a:r>
            <a:r>
              <a:rPr lang="en-US" sz="2800" dirty="0"/>
              <a:t>, </a:t>
            </a:r>
            <a:r>
              <a:rPr lang="en-US" sz="2800" dirty="0" err="1"/>
              <a:t>Genossenschaft</a:t>
            </a:r>
            <a:r>
              <a:rPr lang="en-US" sz="2800" dirty="0"/>
              <a:t>, Verein </a:t>
            </a:r>
            <a:r>
              <a:rPr lang="en-US" sz="2000" b="0" dirty="0"/>
              <a:t>(1 Folie)</a:t>
            </a:r>
            <a:endParaRPr lang="en-US" sz="3600" b="0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3E300C9-AA43-4AD3-B88A-2A4774EF47E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sz="1100" b="1" dirty="0"/>
              <a:t>Verified Social Enterpris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75A52A79-96DA-4513-9F42-35A9554AE7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12817" y="2556127"/>
            <a:ext cx="10562168" cy="3420000"/>
          </a:xfrm>
        </p:spPr>
        <p:txBody>
          <a:bodyPr/>
          <a:lstStyle/>
          <a:p>
            <a:pPr marL="0" indent="0">
              <a:lnSpc>
                <a:spcPct val="150000"/>
              </a:lnSpc>
              <a:buNone/>
              <a:defRPr/>
            </a:pPr>
            <a:r>
              <a:rPr lang="de-DE" altLang="de-DE" sz="2000" dirty="0"/>
              <a:t>Bitte gehen Sie auf folgende Aspekte ein:</a:t>
            </a:r>
            <a:endParaRPr lang="de-DE" altLang="de-DE" sz="2000" b="0" dirty="0"/>
          </a:p>
          <a:p>
            <a:pPr>
              <a:lnSpc>
                <a:spcPct val="150000"/>
              </a:lnSpc>
              <a:defRPr/>
            </a:pPr>
            <a:r>
              <a:rPr lang="de-DE" altLang="de-DE" sz="2000" b="0" dirty="0"/>
              <a:t>Name</a:t>
            </a:r>
          </a:p>
          <a:p>
            <a:pPr>
              <a:lnSpc>
                <a:spcPct val="150000"/>
              </a:lnSpc>
              <a:defRPr/>
            </a:pPr>
            <a:r>
              <a:rPr lang="de-DE" altLang="de-DE" sz="2000" b="0" dirty="0"/>
              <a:t>Website / </a:t>
            </a:r>
            <a:r>
              <a:rPr lang="de-DE" altLang="de-DE" sz="2000" b="0" dirty="0" err="1"/>
              <a:t>Social</a:t>
            </a:r>
            <a:r>
              <a:rPr lang="de-DE" altLang="de-DE" sz="2000" b="0" dirty="0"/>
              <a:t> Media, falls vorhanden </a:t>
            </a:r>
            <a:endParaRPr lang="de-DE" altLang="de-DE" sz="2000" dirty="0"/>
          </a:p>
          <a:p>
            <a:pPr>
              <a:lnSpc>
                <a:spcPct val="150000"/>
              </a:lnSpc>
              <a:defRPr/>
            </a:pPr>
            <a:r>
              <a:rPr lang="de-DE" altLang="de-DE" sz="2000" b="0" dirty="0"/>
              <a:t>Kurzbeschreibung Ihres Unternehmens/Genossenschaft/Verein  (1 Satz)</a:t>
            </a:r>
            <a:endParaRPr lang="de-DE" sz="2000" b="0" dirty="0"/>
          </a:p>
          <a:p>
            <a:pPr marL="0" indent="0">
              <a:lnSpc>
                <a:spcPct val="150000"/>
              </a:lnSpc>
              <a:buNone/>
              <a:defRPr/>
            </a:pPr>
            <a:endParaRPr lang="de-DE" altLang="de-DE" sz="1800" b="0" dirty="0"/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F542FBDB-0397-4475-8FCF-DBCB12906DC3}"/>
              </a:ext>
            </a:extLst>
          </p:cNvPr>
          <p:cNvSpPr txBox="1"/>
          <p:nvPr/>
        </p:nvSpPr>
        <p:spPr>
          <a:xfrm>
            <a:off x="10926534" y="6349429"/>
            <a:ext cx="86302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F9BBD76A-316A-400F-887B-FAC7EB9659B1}" type="slidenum">
              <a:rPr lang="de-AT" sz="1200" smtClean="0">
                <a:latin typeface="Arial" panose="020B0604020202020204" pitchFamily="34" charset="0"/>
                <a:cs typeface="Arial" panose="020B0604020202020204" pitchFamily="34" charset="0"/>
              </a:rPr>
              <a:pPr algn="r"/>
              <a:t>4</a:t>
            </a:fld>
            <a:endParaRPr lang="de-AT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Grafik 9" descr="Ein Bild, das Text enthält.&#10;&#10;Automatisch generierte Beschreibung">
            <a:extLst>
              <a:ext uri="{FF2B5EF4-FFF2-40B4-BE49-F238E27FC236}">
                <a16:creationId xmlns:a16="http://schemas.microsoft.com/office/drawing/2014/main" id="{9AE4CA7A-678B-4A7D-B7C2-2CDB2BB901D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68" y="928713"/>
            <a:ext cx="1569353" cy="2238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919197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86605094-9A08-4054-BC1A-390E0E6B8F7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06468" y="985233"/>
            <a:ext cx="10551581" cy="1005247"/>
          </a:xfrm>
        </p:spPr>
        <p:txBody>
          <a:bodyPr/>
          <a:lstStyle/>
          <a:p>
            <a:r>
              <a:rPr lang="en-US" sz="3600" dirty="0"/>
              <a:t>Problemstellung </a:t>
            </a:r>
            <a:r>
              <a:rPr lang="en-US" sz="2000" b="0" dirty="0"/>
              <a:t>(1 Folie)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3E300C9-AA43-4AD3-B88A-2A4774EF47E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sz="1100" b="1" dirty="0"/>
              <a:t>Verified Social Enterpris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75A52A79-96DA-4513-9F42-35A9554AE7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12817" y="2556127"/>
            <a:ext cx="10562168" cy="3420000"/>
          </a:xfrm>
        </p:spPr>
        <p:txBody>
          <a:bodyPr/>
          <a:lstStyle/>
          <a:p>
            <a:pPr marL="0" indent="0" eaLnBrk="1" fontAlgn="auto" hangingPunct="1">
              <a:lnSpc>
                <a:spcPct val="150000"/>
              </a:lnSpc>
              <a:spcAft>
                <a:spcPts val="0"/>
              </a:spcAft>
              <a:buNone/>
              <a:defRPr/>
            </a:pPr>
            <a:r>
              <a:rPr lang="de-DE" altLang="de-DE" sz="2000" dirty="0"/>
              <a:t>Bitte gehen Sie auf folgende Aspekte ein:</a:t>
            </a:r>
          </a:p>
          <a:p>
            <a:pPr>
              <a:lnSpc>
                <a:spcPct val="150000"/>
              </a:lnSpc>
              <a:defRPr/>
            </a:pPr>
            <a:r>
              <a:rPr lang="de-DE" altLang="de-DE" sz="2000" b="0" dirty="0"/>
              <a:t>Hintergrund und Motivation </a:t>
            </a:r>
          </a:p>
          <a:p>
            <a:pPr>
              <a:lnSpc>
                <a:spcPct val="150000"/>
              </a:lnSpc>
              <a:defRPr/>
            </a:pPr>
            <a:r>
              <a:rPr lang="de-DE" altLang="de-DE" sz="2000" b="0" dirty="0"/>
              <a:t>Erklärung und Darstellung des gesellschaftlichen Problems</a:t>
            </a:r>
          </a:p>
          <a:p>
            <a:pPr>
              <a:lnSpc>
                <a:spcPct val="150000"/>
              </a:lnSpc>
              <a:defRPr/>
            </a:pPr>
            <a:r>
              <a:rPr lang="de-DE" altLang="de-DE" sz="2000" b="0" dirty="0"/>
              <a:t>Wie wird dieses Problem aktuell gelöst? Beschreiben Sie hier, ob – und wenn ja, auf welche Weise und in welchem Umfang – andere gesellschaftliche Akteure bereits versuchen, das Problem zu lösen.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2A7DB49A-2695-4FFF-9FAC-B5F158D123CE}"/>
              </a:ext>
            </a:extLst>
          </p:cNvPr>
          <p:cNvSpPr txBox="1"/>
          <p:nvPr/>
        </p:nvSpPr>
        <p:spPr>
          <a:xfrm>
            <a:off x="10926534" y="6349429"/>
            <a:ext cx="86302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F9BBD76A-316A-400F-887B-FAC7EB9659B1}" type="slidenum">
              <a:rPr lang="de-AT" sz="1200" smtClean="0">
                <a:latin typeface="Arial" panose="020B0604020202020204" pitchFamily="34" charset="0"/>
                <a:cs typeface="Arial" panose="020B0604020202020204" pitchFamily="34" charset="0"/>
              </a:rPr>
              <a:pPr algn="r"/>
              <a:t>5</a:t>
            </a:fld>
            <a:endParaRPr lang="de-AT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Grafik 9" descr="Ein Bild, das Text enthält.&#10;&#10;Automatisch generierte Beschreibung">
            <a:extLst>
              <a:ext uri="{FF2B5EF4-FFF2-40B4-BE49-F238E27FC236}">
                <a16:creationId xmlns:a16="http://schemas.microsoft.com/office/drawing/2014/main" id="{E7A82C4C-8C15-4DEF-91C9-C283CCD4940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68" y="928713"/>
            <a:ext cx="1569353" cy="2238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066510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86605094-9A08-4054-BC1A-390E0E6B8F7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06468" y="985233"/>
            <a:ext cx="10551581" cy="1005247"/>
          </a:xfrm>
        </p:spPr>
        <p:txBody>
          <a:bodyPr/>
          <a:lstStyle/>
          <a:p>
            <a:r>
              <a:rPr lang="en-US" sz="3600" dirty="0" err="1"/>
              <a:t>Lösung</a:t>
            </a:r>
            <a:r>
              <a:rPr lang="en-US" sz="3600" dirty="0"/>
              <a:t> </a:t>
            </a:r>
            <a:r>
              <a:rPr lang="en-US" sz="2000" b="0" dirty="0"/>
              <a:t>(1 Folie)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3E300C9-AA43-4AD3-B88A-2A4774EF47E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sz="1100" b="1" dirty="0"/>
              <a:t>Verified Social Enterpris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75A52A79-96DA-4513-9F42-35A9554AE7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12816" y="2556127"/>
            <a:ext cx="11011009" cy="3420000"/>
          </a:xfrm>
        </p:spPr>
        <p:txBody>
          <a:bodyPr/>
          <a:lstStyle/>
          <a:p>
            <a:pPr marL="0" indent="0" eaLnBrk="1" fontAlgn="auto" hangingPunct="1">
              <a:lnSpc>
                <a:spcPct val="150000"/>
              </a:lnSpc>
              <a:spcAft>
                <a:spcPts val="0"/>
              </a:spcAft>
              <a:buNone/>
              <a:defRPr/>
            </a:pPr>
            <a:r>
              <a:rPr lang="de-DE" altLang="de-DE" sz="2000" dirty="0"/>
              <a:t>Bitte gehen Sie auf folgende Aspekte ein:</a:t>
            </a:r>
          </a:p>
          <a:p>
            <a:pPr>
              <a:lnSpc>
                <a:spcPct val="150000"/>
              </a:lnSpc>
              <a:defRPr/>
            </a:pPr>
            <a:r>
              <a:rPr lang="de-DE" altLang="de-DE" sz="2000" b="0" dirty="0"/>
              <a:t>Wie lösen Sie das gesellschaftliche Problem? Beschreiben Sie Angebot/Programm. 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A017FEB2-D6E8-4779-AD04-DA4E729251BD}"/>
              </a:ext>
            </a:extLst>
          </p:cNvPr>
          <p:cNvSpPr txBox="1"/>
          <p:nvPr/>
        </p:nvSpPr>
        <p:spPr>
          <a:xfrm>
            <a:off x="10926534" y="6349429"/>
            <a:ext cx="86302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F9BBD76A-316A-400F-887B-FAC7EB9659B1}" type="slidenum">
              <a:rPr lang="de-AT" sz="1200" smtClean="0">
                <a:latin typeface="Arial" panose="020B0604020202020204" pitchFamily="34" charset="0"/>
                <a:cs typeface="Arial" panose="020B0604020202020204" pitchFamily="34" charset="0"/>
              </a:rPr>
              <a:pPr algn="r"/>
              <a:t>6</a:t>
            </a:fld>
            <a:endParaRPr lang="de-AT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Grafik 9" descr="Ein Bild, das Text enthält.&#10;&#10;Automatisch generierte Beschreibung">
            <a:extLst>
              <a:ext uri="{FF2B5EF4-FFF2-40B4-BE49-F238E27FC236}">
                <a16:creationId xmlns:a16="http://schemas.microsoft.com/office/drawing/2014/main" id="{277FFE1C-638C-421C-8B8D-9F33D381FBD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68" y="928713"/>
            <a:ext cx="1569353" cy="2238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873445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86605094-9A08-4054-BC1A-390E0E6B8F7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06468" y="985233"/>
            <a:ext cx="10551581" cy="1005247"/>
          </a:xfrm>
        </p:spPr>
        <p:txBody>
          <a:bodyPr/>
          <a:lstStyle/>
          <a:p>
            <a:r>
              <a:rPr lang="en-US" sz="3600" dirty="0" err="1"/>
              <a:t>Wirkungslogik</a:t>
            </a:r>
            <a:r>
              <a:rPr lang="en-US" sz="3600" dirty="0"/>
              <a:t> </a:t>
            </a:r>
            <a:r>
              <a:rPr lang="en-US" sz="2000" b="0" dirty="0"/>
              <a:t>(1 Folie)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3E300C9-AA43-4AD3-B88A-2A4774EF47E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sz="1100" b="1" dirty="0"/>
              <a:t>Verified Social Enterpris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75A52A79-96DA-4513-9F42-35A9554AE7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12816" y="2556127"/>
            <a:ext cx="11011009" cy="3420000"/>
          </a:xfrm>
        </p:spPr>
        <p:txBody>
          <a:bodyPr/>
          <a:lstStyle/>
          <a:p>
            <a:pPr marL="0" indent="0" eaLnBrk="1" fontAlgn="auto" hangingPunct="1">
              <a:lnSpc>
                <a:spcPct val="150000"/>
              </a:lnSpc>
              <a:spcAft>
                <a:spcPts val="0"/>
              </a:spcAft>
              <a:buNone/>
              <a:defRPr/>
            </a:pPr>
            <a:r>
              <a:rPr lang="de-DE" altLang="de-DE" sz="2000" dirty="0"/>
              <a:t>Bitte stellen Sie hier Ihre Wirkungslogik/-kette dar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A017FEB2-D6E8-4779-AD04-DA4E729251BD}"/>
              </a:ext>
            </a:extLst>
          </p:cNvPr>
          <p:cNvSpPr txBox="1"/>
          <p:nvPr/>
        </p:nvSpPr>
        <p:spPr>
          <a:xfrm>
            <a:off x="10926534" y="6349429"/>
            <a:ext cx="86302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F9BBD76A-316A-400F-887B-FAC7EB9659B1}" type="slidenum">
              <a:rPr lang="de-AT" sz="1200" smtClean="0">
                <a:latin typeface="Arial" panose="020B0604020202020204" pitchFamily="34" charset="0"/>
                <a:cs typeface="Arial" panose="020B0604020202020204" pitchFamily="34" charset="0"/>
              </a:rPr>
              <a:pPr algn="r"/>
              <a:t>7</a:t>
            </a:fld>
            <a:endParaRPr lang="de-AT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Grafik 9" descr="Ein Bild, das Text enthält.&#10;&#10;Automatisch generierte Beschreibung">
            <a:extLst>
              <a:ext uri="{FF2B5EF4-FFF2-40B4-BE49-F238E27FC236}">
                <a16:creationId xmlns:a16="http://schemas.microsoft.com/office/drawing/2014/main" id="{42DA3FAF-C98E-4260-8EE6-EEF75BCCBB6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68" y="928713"/>
            <a:ext cx="1569353" cy="2238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061582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86605094-9A08-4054-BC1A-390E0E6B8F7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06468" y="985233"/>
            <a:ext cx="10551581" cy="1005247"/>
          </a:xfrm>
        </p:spPr>
        <p:txBody>
          <a:bodyPr/>
          <a:lstStyle/>
          <a:p>
            <a:r>
              <a:rPr lang="en-US" sz="3600" dirty="0" err="1"/>
              <a:t>Leistungen</a:t>
            </a:r>
            <a:r>
              <a:rPr lang="en-US" sz="3600" dirty="0"/>
              <a:t> und </a:t>
            </a:r>
            <a:r>
              <a:rPr lang="en-US" sz="3600" dirty="0" err="1"/>
              <a:t>Zielgruppen</a:t>
            </a:r>
            <a:r>
              <a:rPr lang="en-US" sz="3600" dirty="0"/>
              <a:t> </a:t>
            </a:r>
            <a:r>
              <a:rPr lang="en-US" sz="2000" b="0" dirty="0"/>
              <a:t>(2 </a:t>
            </a:r>
            <a:r>
              <a:rPr lang="en-US" sz="2000" b="0" dirty="0" err="1"/>
              <a:t>Folien</a:t>
            </a:r>
            <a:r>
              <a:rPr lang="en-US" sz="2000" b="0" dirty="0"/>
              <a:t>)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3E300C9-AA43-4AD3-B88A-2A4774EF47E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sz="1100" b="1" dirty="0"/>
              <a:t>Verified Social Enterpris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75A52A79-96DA-4513-9F42-35A9554AE7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12817" y="2556127"/>
            <a:ext cx="10562168" cy="3420000"/>
          </a:xfrm>
        </p:spPr>
        <p:txBody>
          <a:bodyPr/>
          <a:lstStyle/>
          <a:p>
            <a:pPr marL="0" indent="0" eaLnBrk="1" fontAlgn="auto" hangingPunct="1">
              <a:lnSpc>
                <a:spcPct val="150000"/>
              </a:lnSpc>
              <a:spcAft>
                <a:spcPts val="0"/>
              </a:spcAft>
              <a:buNone/>
              <a:defRPr/>
            </a:pPr>
            <a:r>
              <a:rPr lang="de-DE" altLang="de-DE" sz="2000" dirty="0"/>
              <a:t>Bitte gehen Sie auf folgende Aspekte ein:</a:t>
            </a:r>
          </a:p>
          <a:p>
            <a:pPr>
              <a:lnSpc>
                <a:spcPct val="150000"/>
              </a:lnSpc>
              <a:defRPr/>
            </a:pPr>
            <a:r>
              <a:rPr lang="de-DE" altLang="de-DE" sz="2000" b="0" dirty="0"/>
              <a:t>Welche Maßnahmen führen Sie für die jeweiligen Zielgruppen durch bzw. welche Produkte und/oder Dienstleistungen bieten Sie an?</a:t>
            </a:r>
          </a:p>
          <a:p>
            <a:pPr>
              <a:lnSpc>
                <a:spcPct val="150000"/>
              </a:lnSpc>
              <a:defRPr/>
            </a:pPr>
            <a:r>
              <a:rPr lang="de-DE" altLang="de-DE" sz="2000" b="0" dirty="0"/>
              <a:t>Stellen Sie die Zielgruppen, die durch Ihre Leistungen unmittelbar erreicht werden, dar. Beschreiben Sie, wer zur jeweiligen Zielgruppe gehört und wie groß die jeweilige Zielgruppe ist.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A71B1CF8-5205-41A5-B67F-6D7754AE0FDC}"/>
              </a:ext>
            </a:extLst>
          </p:cNvPr>
          <p:cNvSpPr txBox="1"/>
          <p:nvPr/>
        </p:nvSpPr>
        <p:spPr>
          <a:xfrm>
            <a:off x="10926534" y="6349429"/>
            <a:ext cx="86302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F9BBD76A-316A-400F-887B-FAC7EB9659B1}" type="slidenum">
              <a:rPr lang="de-AT" sz="1200" smtClean="0">
                <a:latin typeface="Arial" panose="020B0604020202020204" pitchFamily="34" charset="0"/>
                <a:cs typeface="Arial" panose="020B0604020202020204" pitchFamily="34" charset="0"/>
              </a:rPr>
              <a:pPr algn="r"/>
              <a:t>8</a:t>
            </a:fld>
            <a:endParaRPr lang="de-AT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Grafik 8" descr="Ein Bild, das Text enthält.&#10;&#10;Automatisch generierte Beschreibung">
            <a:extLst>
              <a:ext uri="{FF2B5EF4-FFF2-40B4-BE49-F238E27FC236}">
                <a16:creationId xmlns:a16="http://schemas.microsoft.com/office/drawing/2014/main" id="{F39E9DEA-D204-4C72-9365-F83771B6A8B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68" y="928713"/>
            <a:ext cx="1569353" cy="2238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638746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86605094-9A08-4054-BC1A-390E0E6B8F7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06468" y="985233"/>
            <a:ext cx="10551581" cy="1005247"/>
          </a:xfrm>
        </p:spPr>
        <p:txBody>
          <a:bodyPr/>
          <a:lstStyle/>
          <a:p>
            <a:r>
              <a:rPr lang="en-US" sz="3600" dirty="0" err="1"/>
              <a:t>Wirkung</a:t>
            </a:r>
            <a:r>
              <a:rPr lang="en-US" sz="3600" dirty="0"/>
              <a:t> / </a:t>
            </a:r>
            <a:r>
              <a:rPr lang="en-US" sz="3600" dirty="0" err="1"/>
              <a:t>gesellschaftlicher</a:t>
            </a:r>
            <a:r>
              <a:rPr lang="en-US" sz="3600" dirty="0"/>
              <a:t> </a:t>
            </a:r>
            <a:r>
              <a:rPr lang="en-US" sz="3600" dirty="0" err="1"/>
              <a:t>Mehrwert</a:t>
            </a:r>
            <a:r>
              <a:rPr lang="en-US" sz="3600" dirty="0"/>
              <a:t> </a:t>
            </a:r>
            <a:r>
              <a:rPr lang="en-US" sz="2000" b="0" dirty="0"/>
              <a:t>(2 </a:t>
            </a:r>
            <a:r>
              <a:rPr lang="en-US" sz="2000" b="0" dirty="0" err="1"/>
              <a:t>Folien</a:t>
            </a:r>
            <a:r>
              <a:rPr lang="en-US" sz="2000" b="0" dirty="0"/>
              <a:t>)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3E300C9-AA43-4AD3-B88A-2A4774EF47E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US" sz="1100" b="1" dirty="0"/>
              <a:t>Verified Social Enterpris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75A52A79-96DA-4513-9F42-35A9554AE74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12817" y="2556127"/>
            <a:ext cx="10562168" cy="3420000"/>
          </a:xfrm>
        </p:spPr>
        <p:txBody>
          <a:bodyPr/>
          <a:lstStyle/>
          <a:p>
            <a:pPr marL="0" indent="0" eaLnBrk="1" fontAlgn="auto" hangingPunct="1">
              <a:lnSpc>
                <a:spcPct val="150000"/>
              </a:lnSpc>
              <a:spcAft>
                <a:spcPts val="0"/>
              </a:spcAft>
              <a:buNone/>
              <a:defRPr/>
            </a:pPr>
            <a:r>
              <a:rPr lang="de-DE" altLang="de-DE" sz="2000" dirty="0"/>
              <a:t>Bitte gehen Sie auf folgende Aspekte ein:</a:t>
            </a:r>
          </a:p>
          <a:p>
            <a:pPr>
              <a:lnSpc>
                <a:spcPct val="150000"/>
              </a:lnSpc>
              <a:defRPr/>
            </a:pPr>
            <a:r>
              <a:rPr lang="de-DE" altLang="de-DE" sz="2000" b="0" dirty="0"/>
              <a:t>Hier stellen Sie die intendierten Wirkungen dar (Outcome/Impact) dar. Als gesellschaftliche Wirkungen werden auch ökologische Wirkungen verstanden. </a:t>
            </a:r>
          </a:p>
          <a:p>
            <a:pPr>
              <a:lnSpc>
                <a:spcPct val="150000"/>
              </a:lnSpc>
              <a:defRPr/>
            </a:pPr>
            <a:r>
              <a:rPr lang="de-DE" altLang="de-DE" sz="2000" b="0" dirty="0"/>
              <a:t>Zuordnung zu einem oder mehreren der folgenden Bereiche:</a:t>
            </a:r>
          </a:p>
          <a:p>
            <a:pPr lvl="1">
              <a:lnSpc>
                <a:spcPct val="120000"/>
              </a:lnSpc>
              <a:defRPr/>
            </a:pPr>
            <a:r>
              <a:rPr lang="de-DE" altLang="de-DE" sz="1400" dirty="0"/>
              <a:t>Anhand der </a:t>
            </a:r>
            <a:r>
              <a:rPr lang="de-DE" altLang="de-DE" sz="1400" dirty="0" err="1"/>
              <a:t>SDG´s</a:t>
            </a:r>
            <a:r>
              <a:rPr lang="de-DE" altLang="de-DE" sz="1400" dirty="0"/>
              <a:t> (</a:t>
            </a:r>
            <a:r>
              <a:rPr lang="de-DE" altLang="de-DE" sz="1400" dirty="0" err="1"/>
              <a:t>Sustainable</a:t>
            </a:r>
            <a:r>
              <a:rPr lang="de-DE" altLang="de-DE" sz="1400" dirty="0"/>
              <a:t> Development Goals)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A71B1CF8-5205-41A5-B67F-6D7754AE0FDC}"/>
              </a:ext>
            </a:extLst>
          </p:cNvPr>
          <p:cNvSpPr txBox="1"/>
          <p:nvPr/>
        </p:nvSpPr>
        <p:spPr>
          <a:xfrm>
            <a:off x="10926534" y="6349429"/>
            <a:ext cx="86302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F9BBD76A-316A-400F-887B-FAC7EB9659B1}" type="slidenum">
              <a:rPr lang="de-AT" sz="1200" smtClean="0">
                <a:latin typeface="Arial" panose="020B0604020202020204" pitchFamily="34" charset="0"/>
                <a:cs typeface="Arial" panose="020B0604020202020204" pitchFamily="34" charset="0"/>
              </a:rPr>
              <a:pPr algn="r"/>
              <a:t>9</a:t>
            </a:fld>
            <a:endParaRPr lang="de-AT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1" name="Grafik 10" descr="Ein Bild, das Text enthält.&#10;&#10;Automatisch generierte Beschreibung">
            <a:extLst>
              <a:ext uri="{FF2B5EF4-FFF2-40B4-BE49-F238E27FC236}">
                <a16:creationId xmlns:a16="http://schemas.microsoft.com/office/drawing/2014/main" id="{AD9F5DDC-1D4D-43B6-BFC8-F97372DBADD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468" y="928713"/>
            <a:ext cx="1569353" cy="2238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71593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ASTER Blau 1">
  <a:themeElements>
    <a:clrScheme name="PPT-AR">
      <a:dk1>
        <a:srgbClr val="00377A"/>
      </a:dk1>
      <a:lt1>
        <a:srgbClr val="FFFFFF"/>
      </a:lt1>
      <a:dk2>
        <a:srgbClr val="000000"/>
      </a:dk2>
      <a:lt2>
        <a:srgbClr val="2E75B6"/>
      </a:lt2>
      <a:accent1>
        <a:srgbClr val="00DCBE"/>
      </a:accent1>
      <a:accent2>
        <a:srgbClr val="7CA9B2"/>
      </a:accent2>
      <a:accent3>
        <a:srgbClr val="9DC3E6"/>
      </a:accent3>
      <a:accent4>
        <a:srgbClr val="2E75B6"/>
      </a:accent4>
      <a:accent5>
        <a:srgbClr val="1F4E79"/>
      </a:accent5>
      <a:accent6>
        <a:srgbClr val="00B0F0"/>
      </a:accent6>
      <a:hlink>
        <a:srgbClr val="00B0F0"/>
      </a:hlink>
      <a:folHlink>
        <a:srgbClr val="65B1FE"/>
      </a:folHlink>
    </a:clrScheme>
    <a:fontScheme name="Office Klassisch 2">
      <a:maj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20180301_aws-Masterfolie_16_9.pptx" id="{2C224AFE-482D-4369-8AAD-8F58446E7322}" vid="{A51E7ACA-FC6E-4A20-B614-2427918B3AFB}"/>
    </a:ext>
  </a:extLst>
</a:theme>
</file>

<file path=ppt/theme/theme10.xml><?xml version="1.0" encoding="utf-8"?>
<a:theme xmlns:a="http://schemas.openxmlformats.org/drawingml/2006/main" name="1_MASTER WEISS">
  <a:themeElements>
    <a:clrScheme name="PPT-AR">
      <a:dk1>
        <a:srgbClr val="00377A"/>
      </a:dk1>
      <a:lt1>
        <a:srgbClr val="FFFFFF"/>
      </a:lt1>
      <a:dk2>
        <a:srgbClr val="000000"/>
      </a:dk2>
      <a:lt2>
        <a:srgbClr val="2E75B6"/>
      </a:lt2>
      <a:accent1>
        <a:srgbClr val="00DCBE"/>
      </a:accent1>
      <a:accent2>
        <a:srgbClr val="7CA9B2"/>
      </a:accent2>
      <a:accent3>
        <a:srgbClr val="9DC3E6"/>
      </a:accent3>
      <a:accent4>
        <a:srgbClr val="2E75B6"/>
      </a:accent4>
      <a:accent5>
        <a:srgbClr val="1F4E79"/>
      </a:accent5>
      <a:accent6>
        <a:srgbClr val="00B0F0"/>
      </a:accent6>
      <a:hlink>
        <a:srgbClr val="00B0F0"/>
      </a:hlink>
      <a:folHlink>
        <a:srgbClr val="65B1FE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20180301_aws-Masterfolie_16_9.pptx" id="{2C224AFE-482D-4369-8AAD-8F58446E7322}" vid="{2BBA6B32-BD3A-4B97-914B-1C197F073776}"/>
    </a:ext>
  </a:extLst>
</a:theme>
</file>

<file path=ppt/theme/theme11.xml><?xml version="1.0" encoding="utf-8"?>
<a:theme xmlns:a="http://schemas.openxmlformats.org/drawingml/2006/main" name="MASTER WEISS">
  <a:themeElements>
    <a:clrScheme name="PPT-AR">
      <a:dk1>
        <a:srgbClr val="00377A"/>
      </a:dk1>
      <a:lt1>
        <a:srgbClr val="FFFFFF"/>
      </a:lt1>
      <a:dk2>
        <a:srgbClr val="000000"/>
      </a:dk2>
      <a:lt2>
        <a:srgbClr val="2E75B6"/>
      </a:lt2>
      <a:accent1>
        <a:srgbClr val="00DCBE"/>
      </a:accent1>
      <a:accent2>
        <a:srgbClr val="7CA9B2"/>
      </a:accent2>
      <a:accent3>
        <a:srgbClr val="9DC3E6"/>
      </a:accent3>
      <a:accent4>
        <a:srgbClr val="2E75B6"/>
      </a:accent4>
      <a:accent5>
        <a:srgbClr val="1F4E79"/>
      </a:accent5>
      <a:accent6>
        <a:srgbClr val="00B0F0"/>
      </a:accent6>
      <a:hlink>
        <a:srgbClr val="00B0F0"/>
      </a:hlink>
      <a:folHlink>
        <a:srgbClr val="65B1FE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20180301_aws-Masterfolie_16_9.pptx" id="{2C224AFE-482D-4369-8AAD-8F58446E7322}" vid="{64123635-62CC-45C2-9FFE-8F9613A2DFB6}"/>
    </a:ext>
  </a:extLst>
</a:theme>
</file>

<file path=ppt/theme/theme1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MASTER Blau 2">
  <a:themeElements>
    <a:clrScheme name="PPT-AR">
      <a:dk1>
        <a:srgbClr val="00377A"/>
      </a:dk1>
      <a:lt1>
        <a:srgbClr val="FFFFFF"/>
      </a:lt1>
      <a:dk2>
        <a:srgbClr val="000000"/>
      </a:dk2>
      <a:lt2>
        <a:srgbClr val="2E75B6"/>
      </a:lt2>
      <a:accent1>
        <a:srgbClr val="00DCBE"/>
      </a:accent1>
      <a:accent2>
        <a:srgbClr val="7CA9B2"/>
      </a:accent2>
      <a:accent3>
        <a:srgbClr val="9DC3E6"/>
      </a:accent3>
      <a:accent4>
        <a:srgbClr val="2E75B6"/>
      </a:accent4>
      <a:accent5>
        <a:srgbClr val="1F4E79"/>
      </a:accent5>
      <a:accent6>
        <a:srgbClr val="00B0F0"/>
      </a:accent6>
      <a:hlink>
        <a:srgbClr val="00B0F0"/>
      </a:hlink>
      <a:folHlink>
        <a:srgbClr val="65B1FE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20180301_aws-Masterfolie_16_9.pptx" id="{2C224AFE-482D-4369-8AAD-8F58446E7322}" vid="{37799956-9A9E-4907-AA14-482B846BCDA3}"/>
    </a:ext>
  </a:extLst>
</a:theme>
</file>

<file path=ppt/theme/theme3.xml><?xml version="1.0" encoding="utf-8"?>
<a:theme xmlns:a="http://schemas.openxmlformats.org/drawingml/2006/main" name="MASTER Hellblau">
  <a:themeElements>
    <a:clrScheme name="PPT-AR">
      <a:dk1>
        <a:srgbClr val="00377A"/>
      </a:dk1>
      <a:lt1>
        <a:srgbClr val="FFFFFF"/>
      </a:lt1>
      <a:dk2>
        <a:srgbClr val="000000"/>
      </a:dk2>
      <a:lt2>
        <a:srgbClr val="2E75B6"/>
      </a:lt2>
      <a:accent1>
        <a:srgbClr val="00DCBE"/>
      </a:accent1>
      <a:accent2>
        <a:srgbClr val="7CA9B2"/>
      </a:accent2>
      <a:accent3>
        <a:srgbClr val="9DC3E6"/>
      </a:accent3>
      <a:accent4>
        <a:srgbClr val="2E75B6"/>
      </a:accent4>
      <a:accent5>
        <a:srgbClr val="1F4E79"/>
      </a:accent5>
      <a:accent6>
        <a:srgbClr val="00B0F0"/>
      </a:accent6>
      <a:hlink>
        <a:srgbClr val="00B0F0"/>
      </a:hlink>
      <a:folHlink>
        <a:srgbClr val="65B1FE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0180301_aws-Masterfolie_16_9.pptx" id="{2C224AFE-482D-4369-8AAD-8F58446E7322}" vid="{D9C3D8F1-8BCE-44D9-A538-01D7077E0EDF}"/>
    </a:ext>
  </a:extLst>
</a:theme>
</file>

<file path=ppt/theme/theme4.xml><?xml version="1.0" encoding="utf-8"?>
<a:theme xmlns:a="http://schemas.openxmlformats.org/drawingml/2006/main" name="PRODUKTE-Übersicht">
  <a:themeElements>
    <a:clrScheme name="PPT-AR">
      <a:dk1>
        <a:srgbClr val="00377A"/>
      </a:dk1>
      <a:lt1>
        <a:srgbClr val="FFFFFF"/>
      </a:lt1>
      <a:dk2>
        <a:srgbClr val="000000"/>
      </a:dk2>
      <a:lt2>
        <a:srgbClr val="2E75B6"/>
      </a:lt2>
      <a:accent1>
        <a:srgbClr val="00DCBE"/>
      </a:accent1>
      <a:accent2>
        <a:srgbClr val="7CA9B2"/>
      </a:accent2>
      <a:accent3>
        <a:srgbClr val="9DC3E6"/>
      </a:accent3>
      <a:accent4>
        <a:srgbClr val="2E75B6"/>
      </a:accent4>
      <a:accent5>
        <a:srgbClr val="1F4E79"/>
      </a:accent5>
      <a:accent6>
        <a:srgbClr val="00B0F0"/>
      </a:accent6>
      <a:hlink>
        <a:srgbClr val="00B0F0"/>
      </a:hlink>
      <a:folHlink>
        <a:srgbClr val="65B1FE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0180301_aws-Masterfolie_16_9.pptx" id="{2C224AFE-482D-4369-8AAD-8F58446E7322}" vid="{83C71F5D-05D2-4709-9F44-72A7BBE81B08}"/>
    </a:ext>
  </a:extLst>
</a:theme>
</file>

<file path=ppt/theme/theme5.xml><?xml version="1.0" encoding="utf-8"?>
<a:theme xmlns:a="http://schemas.openxmlformats.org/drawingml/2006/main" name="PRODUKTE_Abläufe_Prozesse_Allgemein">
  <a:themeElements>
    <a:clrScheme name="PPT-AR">
      <a:dk1>
        <a:srgbClr val="00377A"/>
      </a:dk1>
      <a:lt1>
        <a:srgbClr val="FFFFFF"/>
      </a:lt1>
      <a:dk2>
        <a:srgbClr val="000000"/>
      </a:dk2>
      <a:lt2>
        <a:srgbClr val="2E75B6"/>
      </a:lt2>
      <a:accent1>
        <a:srgbClr val="00DCBE"/>
      </a:accent1>
      <a:accent2>
        <a:srgbClr val="7CA9B2"/>
      </a:accent2>
      <a:accent3>
        <a:srgbClr val="9DC3E6"/>
      </a:accent3>
      <a:accent4>
        <a:srgbClr val="2E75B6"/>
      </a:accent4>
      <a:accent5>
        <a:srgbClr val="1F4E79"/>
      </a:accent5>
      <a:accent6>
        <a:srgbClr val="00B0F0"/>
      </a:accent6>
      <a:hlink>
        <a:srgbClr val="00B0F0"/>
      </a:hlink>
      <a:folHlink>
        <a:srgbClr val="65B1FE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20180301_aws-Masterfolie_16_9.pptx" id="{2C224AFE-482D-4369-8AAD-8F58446E7322}" vid="{5A5C43A4-358D-4D43-8BED-BA879A254057}"/>
    </a:ext>
  </a:extLst>
</a:theme>
</file>

<file path=ppt/theme/theme6.xml><?xml version="1.0" encoding="utf-8"?>
<a:theme xmlns:a="http://schemas.openxmlformats.org/drawingml/2006/main" name="FACH-PPT_Textfolien">
  <a:themeElements>
    <a:clrScheme name="PPT-AR">
      <a:dk1>
        <a:srgbClr val="00377A"/>
      </a:dk1>
      <a:lt1>
        <a:srgbClr val="FFFFFF"/>
      </a:lt1>
      <a:dk2>
        <a:srgbClr val="000000"/>
      </a:dk2>
      <a:lt2>
        <a:srgbClr val="2E75B6"/>
      </a:lt2>
      <a:accent1>
        <a:srgbClr val="00DCBE"/>
      </a:accent1>
      <a:accent2>
        <a:srgbClr val="7CA9B2"/>
      </a:accent2>
      <a:accent3>
        <a:srgbClr val="9DC3E6"/>
      </a:accent3>
      <a:accent4>
        <a:srgbClr val="2E75B6"/>
      </a:accent4>
      <a:accent5>
        <a:srgbClr val="1F4E79"/>
      </a:accent5>
      <a:accent6>
        <a:srgbClr val="00B0F0"/>
      </a:accent6>
      <a:hlink>
        <a:srgbClr val="00B0F0"/>
      </a:hlink>
      <a:folHlink>
        <a:srgbClr val="65B1FE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20180301_aws-Masterfolie_16_9.pptx" id="{2C224AFE-482D-4369-8AAD-8F58446E7322}" vid="{CF0A83AF-10C4-48BF-9FF8-3EA4E97D239F}"/>
    </a:ext>
  </a:extLst>
</a:theme>
</file>

<file path=ppt/theme/theme7.xml><?xml version="1.0" encoding="utf-8"?>
<a:theme xmlns:a="http://schemas.openxmlformats.org/drawingml/2006/main" name="FACH-PPT_Referenzen">
  <a:themeElements>
    <a:clrScheme name="PPT-AR">
      <a:dk1>
        <a:srgbClr val="00377A"/>
      </a:dk1>
      <a:lt1>
        <a:srgbClr val="FFFFFF"/>
      </a:lt1>
      <a:dk2>
        <a:srgbClr val="000000"/>
      </a:dk2>
      <a:lt2>
        <a:srgbClr val="2E75B6"/>
      </a:lt2>
      <a:accent1>
        <a:srgbClr val="00DCBE"/>
      </a:accent1>
      <a:accent2>
        <a:srgbClr val="7CA9B2"/>
      </a:accent2>
      <a:accent3>
        <a:srgbClr val="9DC3E6"/>
      </a:accent3>
      <a:accent4>
        <a:srgbClr val="2E75B6"/>
      </a:accent4>
      <a:accent5>
        <a:srgbClr val="1F4E79"/>
      </a:accent5>
      <a:accent6>
        <a:srgbClr val="00B0F0"/>
      </a:accent6>
      <a:hlink>
        <a:srgbClr val="00B0F0"/>
      </a:hlink>
      <a:folHlink>
        <a:srgbClr val="65B1FE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20180301_aws-Masterfolie_16_9.pptx" id="{2C224AFE-482D-4369-8AAD-8F58446E7322}" vid="{7F2261BC-FDCC-408A-BCF5-149D429D4342}"/>
    </a:ext>
  </a:extLst>
</a:theme>
</file>

<file path=ppt/theme/theme8.xml><?xml version="1.0" encoding="utf-8"?>
<a:theme xmlns:a="http://schemas.openxmlformats.org/drawingml/2006/main" name="FACH-PPT_Tabellen_Diagramme">
  <a:themeElements>
    <a:clrScheme name="PPT-AR">
      <a:dk1>
        <a:srgbClr val="00377A"/>
      </a:dk1>
      <a:lt1>
        <a:srgbClr val="FFFFFF"/>
      </a:lt1>
      <a:dk2>
        <a:srgbClr val="000000"/>
      </a:dk2>
      <a:lt2>
        <a:srgbClr val="2E75B6"/>
      </a:lt2>
      <a:accent1>
        <a:srgbClr val="00DCBE"/>
      </a:accent1>
      <a:accent2>
        <a:srgbClr val="7CA9B2"/>
      </a:accent2>
      <a:accent3>
        <a:srgbClr val="9DC3E6"/>
      </a:accent3>
      <a:accent4>
        <a:srgbClr val="2E75B6"/>
      </a:accent4>
      <a:accent5>
        <a:srgbClr val="1F4E79"/>
      </a:accent5>
      <a:accent6>
        <a:srgbClr val="00B0F0"/>
      </a:accent6>
      <a:hlink>
        <a:srgbClr val="00B0F0"/>
      </a:hlink>
      <a:folHlink>
        <a:srgbClr val="65B1FE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20180301_aws-Masterfolie_16_9.pptx" id="{2C224AFE-482D-4369-8AAD-8F58446E7322}" vid="{03EC803E-6D8C-4F9A-BF7F-D3E0A128A5DF}"/>
    </a:ext>
  </a:extLst>
</a:theme>
</file>

<file path=ppt/theme/theme9.xml><?xml version="1.0" encoding="utf-8"?>
<a:theme xmlns:a="http://schemas.openxmlformats.org/drawingml/2006/main" name="Image">
  <a:themeElements>
    <a:clrScheme name="PPT-AR">
      <a:dk1>
        <a:srgbClr val="00377A"/>
      </a:dk1>
      <a:lt1>
        <a:srgbClr val="FFFFFF"/>
      </a:lt1>
      <a:dk2>
        <a:srgbClr val="000000"/>
      </a:dk2>
      <a:lt2>
        <a:srgbClr val="2E75B6"/>
      </a:lt2>
      <a:accent1>
        <a:srgbClr val="00DCBE"/>
      </a:accent1>
      <a:accent2>
        <a:srgbClr val="7CA9B2"/>
      </a:accent2>
      <a:accent3>
        <a:srgbClr val="9DC3E6"/>
      </a:accent3>
      <a:accent4>
        <a:srgbClr val="2E75B6"/>
      </a:accent4>
      <a:accent5>
        <a:srgbClr val="1F4E79"/>
      </a:accent5>
      <a:accent6>
        <a:srgbClr val="00B0F0"/>
      </a:accent6>
      <a:hlink>
        <a:srgbClr val="00B0F0"/>
      </a:hlink>
      <a:folHlink>
        <a:srgbClr val="65B1FE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20180301_aws-Masterfolie_16_9.pptx" id="{2C224AFE-482D-4369-8AAD-8F58446E7322}" vid="{D436677C-4C6B-47BB-8E61-E5B154C95F5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6c99a309-f164-4689-8ef8-a6569b8d31c9">
      <UserInfo>
        <DisplayName>Dr. Gertraud Leimueller</DisplayName>
        <AccountId>12</AccountId>
        <AccountType/>
      </UserInfo>
    </SharedWithUsers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58F315A09396534A9DE22DBBDD2EE53E" ma:contentTypeVersion="4" ma:contentTypeDescription="Ein neues Dokument erstellen." ma:contentTypeScope="" ma:versionID="44d05c77f299303e9e427a4e9af97c0c">
  <xsd:schema xmlns:xsd="http://www.w3.org/2001/XMLSchema" xmlns:xs="http://www.w3.org/2001/XMLSchema" xmlns:p="http://schemas.microsoft.com/office/2006/metadata/properties" xmlns:ns2="945b309e-ff2f-4572-87d9-044fa8d84a90" xmlns:ns3="6c99a309-f164-4689-8ef8-a6569b8d31c9" targetNamespace="http://schemas.microsoft.com/office/2006/metadata/properties" ma:root="true" ma:fieldsID="59510b85a33b6ee79aeed79f09becdac" ns2:_="" ns3:_="">
    <xsd:import namespace="945b309e-ff2f-4572-87d9-044fa8d84a90"/>
    <xsd:import namespace="6c99a309-f164-4689-8ef8-a6569b8d31c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45b309e-ff2f-4572-87d9-044fa8d84a9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c99a309-f164-4689-8ef8-a6569b8d31c9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9AF1106-01EF-483D-98CF-E69C4A74DA34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44A5908A-E9B9-4803-BCD3-70D11E356B9B}">
  <ds:schemaRefs>
    <ds:schemaRef ds:uri="http://www.w3.org/XML/1998/namespace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purl.org/dc/terms/"/>
    <ds:schemaRef ds:uri="http://purl.org/dc/dcmitype/"/>
    <ds:schemaRef ds:uri="945b309e-ff2f-4572-87d9-044fa8d84a90"/>
    <ds:schemaRef ds:uri="http://schemas.microsoft.com/office/2006/documentManagement/types"/>
    <ds:schemaRef ds:uri="6c99a309-f164-4689-8ef8-a6569b8d31c9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F813BA6F-A7F4-4820-88D7-B7577B9055BF}">
  <ds:schemaRefs>
    <ds:schemaRef ds:uri="6c99a309-f164-4689-8ef8-a6569b8d31c9"/>
    <ds:schemaRef ds:uri="945b309e-ff2f-4572-87d9-044fa8d84a90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KWaws_bmdw_24032021</Template>
  <TotalTime>0</TotalTime>
  <Words>548</Words>
  <Application>Microsoft Office PowerPoint</Application>
  <PresentationFormat>Breitbild</PresentationFormat>
  <Paragraphs>78</Paragraphs>
  <Slides>12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2</vt:i4>
      </vt:variant>
    </vt:vector>
  </HeadingPairs>
  <TitlesOfParts>
    <vt:vector size="28" baseType="lpstr">
      <vt:lpstr>Arial</vt:lpstr>
      <vt:lpstr>Calibri</vt:lpstr>
      <vt:lpstr>Symbol</vt:lpstr>
      <vt:lpstr>Wingdings</vt:lpstr>
      <vt:lpstr>MASTER Blau 1</vt:lpstr>
      <vt:lpstr>MASTER Blau 2</vt:lpstr>
      <vt:lpstr>MASTER Hellblau</vt:lpstr>
      <vt:lpstr>PRODUKTE-Übersicht</vt:lpstr>
      <vt:lpstr>PRODUKTE_Abläufe_Prozesse_Allgemein</vt:lpstr>
      <vt:lpstr>FACH-PPT_Textfolien</vt:lpstr>
      <vt:lpstr>FACH-PPT_Referenzen</vt:lpstr>
      <vt:lpstr>FACH-PPT_Tabellen_Diagramme</vt:lpstr>
      <vt:lpstr>Image</vt:lpstr>
      <vt:lpstr>1_MASTER WEISS</vt:lpstr>
      <vt:lpstr>MASTER WEISS</vt:lpstr>
      <vt:lpstr>think-cell Foli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>AW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Katrin Roseneder</dc:creator>
  <cp:lastModifiedBy>BLÖCH Thomas</cp:lastModifiedBy>
  <cp:revision>205</cp:revision>
  <dcterms:created xsi:type="dcterms:W3CDTF">2021-03-22T10:05:10Z</dcterms:created>
  <dcterms:modified xsi:type="dcterms:W3CDTF">2022-11-30T14:00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8F315A09396534A9DE22DBBDD2EE53E</vt:lpwstr>
  </property>
</Properties>
</file>